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2.xml" ContentType="application/vnd.openxmlformats-officedocument.theme+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3.xml" ContentType="application/vnd.openxmlformats-officedocument.theme+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heme/theme4.xml" ContentType="application/vnd.openxmlformats-officedocument.them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89" r:id="rId4"/>
    <p:sldMasterId id="2147483702" r:id="rId5"/>
    <p:sldMasterId id="2147483708" r:id="rId6"/>
    <p:sldMasterId id="2147483713" r:id="rId7"/>
  </p:sldMasterIdLst>
  <p:notesMasterIdLst>
    <p:notesMasterId r:id="rId57"/>
  </p:notesMasterIdLst>
  <p:handoutMasterIdLst>
    <p:handoutMasterId r:id="rId58"/>
  </p:handoutMasterIdLst>
  <p:sldIdLst>
    <p:sldId id="265" r:id="rId8"/>
    <p:sldId id="648" r:id="rId9"/>
    <p:sldId id="674" r:id="rId10"/>
    <p:sldId id="746" r:id="rId11"/>
    <p:sldId id="649" r:id="rId12"/>
    <p:sldId id="705" r:id="rId13"/>
    <p:sldId id="747" r:id="rId14"/>
    <p:sldId id="789" r:id="rId15"/>
    <p:sldId id="743" r:id="rId16"/>
    <p:sldId id="748" r:id="rId17"/>
    <p:sldId id="749" r:id="rId18"/>
    <p:sldId id="790" r:id="rId19"/>
    <p:sldId id="707" r:id="rId20"/>
    <p:sldId id="708" r:id="rId21"/>
    <p:sldId id="744" r:id="rId22"/>
    <p:sldId id="709" r:id="rId23"/>
    <p:sldId id="710" r:id="rId24"/>
    <p:sldId id="711" r:id="rId25"/>
    <p:sldId id="713" r:id="rId26"/>
    <p:sldId id="761" r:id="rId27"/>
    <p:sldId id="772" r:id="rId28"/>
    <p:sldId id="714" r:id="rId29"/>
    <p:sldId id="771" r:id="rId30"/>
    <p:sldId id="750" r:id="rId31"/>
    <p:sldId id="751" r:id="rId32"/>
    <p:sldId id="791" r:id="rId33"/>
    <p:sldId id="795" r:id="rId34"/>
    <p:sldId id="752" r:id="rId35"/>
    <p:sldId id="769" r:id="rId36"/>
    <p:sldId id="756" r:id="rId37"/>
    <p:sldId id="792" r:id="rId38"/>
    <p:sldId id="758" r:id="rId39"/>
    <p:sldId id="793" r:id="rId40"/>
    <p:sldId id="786" r:id="rId41"/>
    <p:sldId id="759" r:id="rId42"/>
    <p:sldId id="762" r:id="rId43"/>
    <p:sldId id="794" r:id="rId44"/>
    <p:sldId id="787" r:id="rId45"/>
    <p:sldId id="763" r:id="rId46"/>
    <p:sldId id="773" r:id="rId47"/>
    <p:sldId id="768" r:id="rId48"/>
    <p:sldId id="774" r:id="rId49"/>
    <p:sldId id="775" r:id="rId50"/>
    <p:sldId id="778" r:id="rId51"/>
    <p:sldId id="779" r:id="rId52"/>
    <p:sldId id="780" r:id="rId53"/>
    <p:sldId id="781" r:id="rId54"/>
    <p:sldId id="788" r:id="rId55"/>
    <p:sldId id="650" r:id="rId56"/>
  </p:sldIdLst>
  <p:sldSz cx="9144000" cy="6858000" type="screen4x3"/>
  <p:notesSz cx="7315200" cy="96012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49">
          <p15:clr>
            <a:srgbClr val="A4A3A4"/>
          </p15:clr>
        </p15:guide>
      </p15:sldGuideLst>
    </p:ext>
    <p:ext uri="{2D200454-40CA-4A62-9FC3-DE9A4176ACB9}">
      <p15:notesGuideLst xmlns:p15="http://schemas.microsoft.com/office/powerpoint/2012/main">
        <p15:guide id="1" orient="horz" pos="2820">
          <p15:clr>
            <a:srgbClr val="A4A3A4"/>
          </p15:clr>
        </p15:guide>
        <p15:guide id="2" pos="1362">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6378" autoAdjust="0"/>
    <p:restoredTop sz="84902" autoAdjust="0"/>
  </p:normalViewPr>
  <p:slideViewPr>
    <p:cSldViewPr snapToGrid="0" showGuides="1">
      <p:cViewPr>
        <p:scale>
          <a:sx n="75" d="100"/>
          <a:sy n="75" d="100"/>
        </p:scale>
        <p:origin x="920" y="-756"/>
      </p:cViewPr>
      <p:guideLst>
        <p:guide orient="horz" pos="2160"/>
        <p:guide pos="249"/>
      </p:guideLst>
    </p:cSldViewPr>
  </p:slideViewPr>
  <p:outlineViewPr>
    <p:cViewPr>
      <p:scale>
        <a:sx n="33" d="100"/>
        <a:sy n="33" d="100"/>
      </p:scale>
      <p:origin x="0" y="0"/>
    </p:cViewPr>
    <p:sldLst>
      <p:sld r:id="rId1" collapse="1"/>
      <p:sld r:id="rId2" collapse="1"/>
      <p:sld r:id="rId3" collapse="1"/>
      <p:sld r:id="rId4" collapse="1"/>
      <p:sld r:id="rId5" collapse="1"/>
      <p:sld r:id="rId6" collapse="1"/>
      <p:sld r:id="rId7" collapse="1"/>
      <p:sld r:id="rId8" collapse="1"/>
      <p:sld r:id="rId9" collapse="1"/>
      <p:sld r:id="rId10" collapse="1"/>
      <p:sld r:id="rId11" collapse="1"/>
      <p:sld r:id="rId12" collapse="1"/>
      <p:sld r:id="rId13" collapse="1"/>
      <p:sld r:id="rId14" collapse="1"/>
      <p:sld r:id="rId15" collapse="1"/>
      <p:sld r:id="rId16" collapse="1"/>
      <p:sld r:id="rId17" collapse="1"/>
      <p:sld r:id="rId18" collapse="1"/>
      <p:sld r:id="rId19" collapse="1"/>
      <p:sld r:id="rId20" collapse="1"/>
      <p:sld r:id="rId21" collapse="1"/>
      <p:sld r:id="rId22" collapse="1"/>
      <p:sld r:id="rId23" collapse="1"/>
      <p:sld r:id="rId24" collapse="1"/>
      <p:sld r:id="rId25" collapse="1"/>
      <p:sld r:id="rId26" collapse="1"/>
      <p:sld r:id="rId27" collapse="1"/>
      <p:sld r:id="rId28" collapse="1"/>
      <p:sld r:id="rId29" collapse="1"/>
      <p:sld r:id="rId30" collapse="1"/>
      <p:sld r:id="rId31" collapse="1"/>
      <p:sld r:id="rId32" collapse="1"/>
      <p:sld r:id="rId33" collapse="1"/>
      <p:sld r:id="rId34" collapse="1"/>
      <p:sld r:id="rId35" collapse="1"/>
      <p:sld r:id="rId36" collapse="1"/>
      <p:sld r:id="rId37" collapse="1"/>
      <p:sld r:id="rId38" collapse="1"/>
      <p:sld r:id="rId39" collapse="1"/>
      <p:sld r:id="rId40" collapse="1"/>
      <p:sld r:id="rId41" collapse="1"/>
    </p:sldLst>
  </p:outlineViewPr>
  <p:notesTextViewPr>
    <p:cViewPr>
      <p:scale>
        <a:sx n="125" d="100"/>
        <a:sy n="125" d="100"/>
      </p:scale>
      <p:origin x="0" y="0"/>
    </p:cViewPr>
  </p:notesTextViewPr>
  <p:sorterViewPr>
    <p:cViewPr varScale="1">
      <p:scale>
        <a:sx n="1" d="1"/>
        <a:sy n="1" d="1"/>
      </p:scale>
      <p:origin x="0" y="0"/>
    </p:cViewPr>
  </p:sorterViewPr>
  <p:notesViewPr>
    <p:cSldViewPr snapToGrid="0">
      <p:cViewPr>
        <p:scale>
          <a:sx n="40" d="100"/>
          <a:sy n="40" d="100"/>
        </p:scale>
        <p:origin x="1916" y="52"/>
      </p:cViewPr>
      <p:guideLst>
        <p:guide orient="horz" pos="2820"/>
        <p:guide pos="1362"/>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9" Type="http://schemas.openxmlformats.org/officeDocument/2006/relationships/slide" Target="slides/slide32.xml"/><Relationship Id="rId21" Type="http://schemas.openxmlformats.org/officeDocument/2006/relationships/slide" Target="slides/slide14.xml"/><Relationship Id="rId34" Type="http://schemas.openxmlformats.org/officeDocument/2006/relationships/slide" Target="slides/slide27.xml"/><Relationship Id="rId42" Type="http://schemas.openxmlformats.org/officeDocument/2006/relationships/slide" Target="slides/slide35.xml"/><Relationship Id="rId47" Type="http://schemas.openxmlformats.org/officeDocument/2006/relationships/slide" Target="slides/slide40.xml"/><Relationship Id="rId50" Type="http://schemas.openxmlformats.org/officeDocument/2006/relationships/slide" Target="slides/slide43.xml"/><Relationship Id="rId55" Type="http://schemas.openxmlformats.org/officeDocument/2006/relationships/slide" Target="slides/slide48.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9.xml"/><Relationship Id="rId20" Type="http://schemas.openxmlformats.org/officeDocument/2006/relationships/slide" Target="slides/slide13.xml"/><Relationship Id="rId29" Type="http://schemas.openxmlformats.org/officeDocument/2006/relationships/slide" Target="slides/slide22.xml"/><Relationship Id="rId41" Type="http://schemas.openxmlformats.org/officeDocument/2006/relationships/slide" Target="slides/slide34.xml"/><Relationship Id="rId54" Type="http://schemas.openxmlformats.org/officeDocument/2006/relationships/slide" Target="slides/slide47.xml"/><Relationship Id="rId62"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slide" Target="slides/slide25.xml"/><Relationship Id="rId37" Type="http://schemas.openxmlformats.org/officeDocument/2006/relationships/slide" Target="slides/slide30.xml"/><Relationship Id="rId40" Type="http://schemas.openxmlformats.org/officeDocument/2006/relationships/slide" Target="slides/slide33.xml"/><Relationship Id="rId45" Type="http://schemas.openxmlformats.org/officeDocument/2006/relationships/slide" Target="slides/slide38.xml"/><Relationship Id="rId53" Type="http://schemas.openxmlformats.org/officeDocument/2006/relationships/slide" Target="slides/slide46.xml"/><Relationship Id="rId58" Type="http://schemas.openxmlformats.org/officeDocument/2006/relationships/handoutMaster" Target="handoutMasters/handoutMaster1.xml"/><Relationship Id="rId5" Type="http://schemas.openxmlformats.org/officeDocument/2006/relationships/slideMaster" Target="slideMasters/slideMaster2.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slide" Target="slides/slide29.xml"/><Relationship Id="rId49" Type="http://schemas.openxmlformats.org/officeDocument/2006/relationships/slide" Target="slides/slide42.xml"/><Relationship Id="rId57" Type="http://schemas.openxmlformats.org/officeDocument/2006/relationships/notesMaster" Target="notesMasters/notesMaster1.xml"/><Relationship Id="rId61" Type="http://schemas.openxmlformats.org/officeDocument/2006/relationships/theme" Target="theme/theme1.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slide" Target="slides/slide24.xml"/><Relationship Id="rId44" Type="http://schemas.openxmlformats.org/officeDocument/2006/relationships/slide" Target="slides/slide37.xml"/><Relationship Id="rId52" Type="http://schemas.openxmlformats.org/officeDocument/2006/relationships/slide" Target="slides/slide45.xml"/><Relationship Id="rId60"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slide" Target="slides/slide28.xml"/><Relationship Id="rId43" Type="http://schemas.openxmlformats.org/officeDocument/2006/relationships/slide" Target="slides/slide36.xml"/><Relationship Id="rId48" Type="http://schemas.openxmlformats.org/officeDocument/2006/relationships/slide" Target="slides/slide41.xml"/><Relationship Id="rId56" Type="http://schemas.openxmlformats.org/officeDocument/2006/relationships/slide" Target="slides/slide49.xml"/><Relationship Id="rId8" Type="http://schemas.openxmlformats.org/officeDocument/2006/relationships/slide" Target="slides/slide1.xml"/><Relationship Id="rId51" Type="http://schemas.openxmlformats.org/officeDocument/2006/relationships/slide" Target="slides/slide44.xml"/><Relationship Id="rId3" Type="http://schemas.openxmlformats.org/officeDocument/2006/relationships/customXml" Target="../customXml/item3.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slide" Target="slides/slide26.xml"/><Relationship Id="rId38" Type="http://schemas.openxmlformats.org/officeDocument/2006/relationships/slide" Target="slides/slide31.xml"/><Relationship Id="rId46" Type="http://schemas.openxmlformats.org/officeDocument/2006/relationships/slide" Target="slides/slide39.xml"/><Relationship Id="rId59" Type="http://schemas.openxmlformats.org/officeDocument/2006/relationships/presProps" Target="presProps.xml"/></Relationships>
</file>

<file path=ppt/_rels/viewProps.xml.rels><?xml version="1.0" encoding="UTF-8" standalone="yes"?>
<Relationships xmlns="http://schemas.openxmlformats.org/package/2006/relationships"><Relationship Id="rId8" Type="http://schemas.openxmlformats.org/officeDocument/2006/relationships/slide" Target="slides/slide13.xml"/><Relationship Id="rId13" Type="http://schemas.openxmlformats.org/officeDocument/2006/relationships/slide" Target="slides/slide18.xml"/><Relationship Id="rId18" Type="http://schemas.openxmlformats.org/officeDocument/2006/relationships/slide" Target="slides/slide23.xml"/><Relationship Id="rId26" Type="http://schemas.openxmlformats.org/officeDocument/2006/relationships/slide" Target="slides/slide32.xml"/><Relationship Id="rId39" Type="http://schemas.openxmlformats.org/officeDocument/2006/relationships/slide" Target="slides/slide45.xml"/><Relationship Id="rId3" Type="http://schemas.openxmlformats.org/officeDocument/2006/relationships/slide" Target="slides/slide8.xml"/><Relationship Id="rId21" Type="http://schemas.openxmlformats.org/officeDocument/2006/relationships/slide" Target="slides/slide26.xml"/><Relationship Id="rId34" Type="http://schemas.openxmlformats.org/officeDocument/2006/relationships/slide" Target="slides/slide40.xml"/><Relationship Id="rId7" Type="http://schemas.openxmlformats.org/officeDocument/2006/relationships/slide" Target="slides/slide12.xml"/><Relationship Id="rId12" Type="http://schemas.openxmlformats.org/officeDocument/2006/relationships/slide" Target="slides/slide17.xml"/><Relationship Id="rId17" Type="http://schemas.openxmlformats.org/officeDocument/2006/relationships/slide" Target="slides/slide22.xml"/><Relationship Id="rId25" Type="http://schemas.openxmlformats.org/officeDocument/2006/relationships/slide" Target="slides/slide31.xml"/><Relationship Id="rId33" Type="http://schemas.openxmlformats.org/officeDocument/2006/relationships/slide" Target="slides/slide39.xml"/><Relationship Id="rId38" Type="http://schemas.openxmlformats.org/officeDocument/2006/relationships/slide" Target="slides/slide44.xml"/><Relationship Id="rId2" Type="http://schemas.openxmlformats.org/officeDocument/2006/relationships/slide" Target="slides/slide6.xml"/><Relationship Id="rId16" Type="http://schemas.openxmlformats.org/officeDocument/2006/relationships/slide" Target="slides/slide21.xml"/><Relationship Id="rId20" Type="http://schemas.openxmlformats.org/officeDocument/2006/relationships/slide" Target="slides/slide25.xml"/><Relationship Id="rId29" Type="http://schemas.openxmlformats.org/officeDocument/2006/relationships/slide" Target="slides/slide35.xml"/><Relationship Id="rId41" Type="http://schemas.openxmlformats.org/officeDocument/2006/relationships/slide" Target="slides/slide47.xml"/><Relationship Id="rId1" Type="http://schemas.openxmlformats.org/officeDocument/2006/relationships/slide" Target="slides/slide5.xml"/><Relationship Id="rId6" Type="http://schemas.openxmlformats.org/officeDocument/2006/relationships/slide" Target="slides/slide11.xml"/><Relationship Id="rId11" Type="http://schemas.openxmlformats.org/officeDocument/2006/relationships/slide" Target="slides/slide16.xml"/><Relationship Id="rId24" Type="http://schemas.openxmlformats.org/officeDocument/2006/relationships/slide" Target="slides/slide30.xml"/><Relationship Id="rId32" Type="http://schemas.openxmlformats.org/officeDocument/2006/relationships/slide" Target="slides/slide38.xml"/><Relationship Id="rId37" Type="http://schemas.openxmlformats.org/officeDocument/2006/relationships/slide" Target="slides/slide43.xml"/><Relationship Id="rId40" Type="http://schemas.openxmlformats.org/officeDocument/2006/relationships/slide" Target="slides/slide46.xml"/><Relationship Id="rId5" Type="http://schemas.openxmlformats.org/officeDocument/2006/relationships/slide" Target="slides/slide10.xml"/><Relationship Id="rId15" Type="http://schemas.openxmlformats.org/officeDocument/2006/relationships/slide" Target="slides/slide20.xml"/><Relationship Id="rId23" Type="http://schemas.openxmlformats.org/officeDocument/2006/relationships/slide" Target="slides/slide29.xml"/><Relationship Id="rId28" Type="http://schemas.openxmlformats.org/officeDocument/2006/relationships/slide" Target="slides/slide34.xml"/><Relationship Id="rId36" Type="http://schemas.openxmlformats.org/officeDocument/2006/relationships/slide" Target="slides/slide42.xml"/><Relationship Id="rId10" Type="http://schemas.openxmlformats.org/officeDocument/2006/relationships/slide" Target="slides/slide15.xml"/><Relationship Id="rId19" Type="http://schemas.openxmlformats.org/officeDocument/2006/relationships/slide" Target="slides/slide24.xml"/><Relationship Id="rId31" Type="http://schemas.openxmlformats.org/officeDocument/2006/relationships/slide" Target="slides/slide37.xml"/><Relationship Id="rId4" Type="http://schemas.openxmlformats.org/officeDocument/2006/relationships/slide" Target="slides/slide9.xml"/><Relationship Id="rId9" Type="http://schemas.openxmlformats.org/officeDocument/2006/relationships/slide" Target="slides/slide14.xml"/><Relationship Id="rId14" Type="http://schemas.openxmlformats.org/officeDocument/2006/relationships/slide" Target="slides/slide19.xml"/><Relationship Id="rId22" Type="http://schemas.openxmlformats.org/officeDocument/2006/relationships/slide" Target="slides/slide28.xml"/><Relationship Id="rId27" Type="http://schemas.openxmlformats.org/officeDocument/2006/relationships/slide" Target="slides/slide33.xml"/><Relationship Id="rId30" Type="http://schemas.openxmlformats.org/officeDocument/2006/relationships/slide" Target="slides/slide36.xml"/><Relationship Id="rId35" Type="http://schemas.openxmlformats.org/officeDocument/2006/relationships/slide" Target="slides/slide4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9.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69920" cy="480060"/>
          </a:xfrm>
          <a:prstGeom prst="rect">
            <a:avLst/>
          </a:prstGeom>
        </p:spPr>
        <p:txBody>
          <a:bodyPr vert="horz" lIns="96661" tIns="48331" rIns="96661" bIns="48331" rtlCol="0"/>
          <a:lstStyle>
            <a:lvl1pPr algn="l">
              <a:defRPr sz="1300"/>
            </a:lvl1pPr>
          </a:lstStyle>
          <a:p>
            <a:endParaRPr lang="en-US"/>
          </a:p>
        </p:txBody>
      </p:sp>
      <p:sp>
        <p:nvSpPr>
          <p:cNvPr id="3" name="Date Placeholder 2"/>
          <p:cNvSpPr>
            <a:spLocks noGrp="1"/>
          </p:cNvSpPr>
          <p:nvPr>
            <p:ph type="dt" sz="quarter" idx="1"/>
          </p:nvPr>
        </p:nvSpPr>
        <p:spPr>
          <a:xfrm>
            <a:off x="4143587" y="0"/>
            <a:ext cx="3169920" cy="480060"/>
          </a:xfrm>
          <a:prstGeom prst="rect">
            <a:avLst/>
          </a:prstGeom>
        </p:spPr>
        <p:txBody>
          <a:bodyPr vert="horz" lIns="96661" tIns="48331" rIns="96661" bIns="48331" rtlCol="0"/>
          <a:lstStyle>
            <a:lvl1pPr algn="r">
              <a:defRPr sz="1300"/>
            </a:lvl1pPr>
          </a:lstStyle>
          <a:p>
            <a:fld id="{DB228672-4337-41E0-A109-2BF6C0A0EED5}" type="datetimeFigureOut">
              <a:rPr lang="en-US" smtClean="0"/>
              <a:pPr/>
              <a:t>9/1/2020</a:t>
            </a:fld>
            <a:endParaRPr lang="en-US"/>
          </a:p>
        </p:txBody>
      </p:sp>
      <p:sp>
        <p:nvSpPr>
          <p:cNvPr id="4" name="Footer Placeholder 3"/>
          <p:cNvSpPr>
            <a:spLocks noGrp="1"/>
          </p:cNvSpPr>
          <p:nvPr>
            <p:ph type="ftr" sz="quarter" idx="2"/>
          </p:nvPr>
        </p:nvSpPr>
        <p:spPr>
          <a:xfrm>
            <a:off x="0" y="9119474"/>
            <a:ext cx="3169920" cy="480060"/>
          </a:xfrm>
          <a:prstGeom prst="rect">
            <a:avLst/>
          </a:prstGeom>
        </p:spPr>
        <p:txBody>
          <a:bodyPr vert="horz" lIns="96661" tIns="48331" rIns="96661" bIns="48331" rtlCol="0" anchor="b"/>
          <a:lstStyle>
            <a:lvl1pPr algn="l">
              <a:defRPr sz="1300"/>
            </a:lvl1pPr>
          </a:lstStyle>
          <a:p>
            <a:r>
              <a:rPr lang="en-US"/>
              <a:t>Page XX-#</a:t>
            </a:r>
          </a:p>
        </p:txBody>
      </p:sp>
      <p:sp>
        <p:nvSpPr>
          <p:cNvPr id="5" name="Slide Number Placeholder 4"/>
          <p:cNvSpPr>
            <a:spLocks noGrp="1"/>
          </p:cNvSpPr>
          <p:nvPr>
            <p:ph type="sldNum" sz="quarter" idx="3"/>
          </p:nvPr>
        </p:nvSpPr>
        <p:spPr>
          <a:xfrm>
            <a:off x="4143587" y="9119474"/>
            <a:ext cx="3169920" cy="480060"/>
          </a:xfrm>
          <a:prstGeom prst="rect">
            <a:avLst/>
          </a:prstGeom>
        </p:spPr>
        <p:txBody>
          <a:bodyPr vert="horz" lIns="96661" tIns="48331" rIns="96661" bIns="48331" rtlCol="0" anchor="b"/>
          <a:lstStyle>
            <a:lvl1pPr algn="r">
              <a:defRPr sz="1300"/>
            </a:lvl1pPr>
          </a:lstStyle>
          <a:p>
            <a:fld id="{0381AB50-9623-476D-A480-EBA540222513}" type="slidenum">
              <a:rPr lang="en-US" smtClean="0"/>
              <a:pPr/>
              <a:t>‹#›</a:t>
            </a:fld>
            <a:endParaRPr lang="en-US"/>
          </a:p>
        </p:txBody>
      </p:sp>
    </p:spTree>
    <p:extLst>
      <p:ext uri="{BB962C8B-B14F-4D97-AF65-F5344CB8AC3E}">
        <p14:creationId xmlns:p14="http://schemas.microsoft.com/office/powerpoint/2010/main" val="2812618692"/>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 name="Line 8"/>
          <p:cNvSpPr>
            <a:spLocks noChangeShapeType="1"/>
          </p:cNvSpPr>
          <p:nvPr/>
        </p:nvSpPr>
        <p:spPr bwMode="auto">
          <a:xfrm>
            <a:off x="1213947" y="384275"/>
            <a:ext cx="0" cy="8401050"/>
          </a:xfrm>
          <a:prstGeom prst="line">
            <a:avLst/>
          </a:prstGeom>
          <a:noFill/>
          <a:ln w="9525">
            <a:solidFill>
              <a:schemeClr val="tx1"/>
            </a:solidFill>
            <a:round/>
            <a:headEnd/>
            <a:tailEnd/>
          </a:ln>
          <a:effectLst/>
        </p:spPr>
        <p:txBody>
          <a:bodyPr lIns="96661" tIns="48331" rIns="96661" bIns="48331"/>
          <a:lstStyle/>
          <a:p>
            <a:endParaRPr lang="en-US"/>
          </a:p>
        </p:txBody>
      </p:sp>
      <p:sp>
        <p:nvSpPr>
          <p:cNvPr id="11" name="Rectangle 14"/>
          <p:cNvSpPr>
            <a:spLocks noChangeArrowheads="1"/>
          </p:cNvSpPr>
          <p:nvPr/>
        </p:nvSpPr>
        <p:spPr bwMode="auto">
          <a:xfrm>
            <a:off x="257387" y="160021"/>
            <a:ext cx="6934201" cy="325041"/>
          </a:xfrm>
          <a:prstGeom prst="rect">
            <a:avLst/>
          </a:prstGeom>
          <a:noFill/>
          <a:ln w="9525">
            <a:noFill/>
            <a:miter lim="800000"/>
            <a:headEnd/>
            <a:tailEnd/>
          </a:ln>
          <a:effectLst/>
        </p:spPr>
        <p:txBody>
          <a:bodyPr lIns="97725" tIns="48862" rIns="97725" bIns="48862"/>
          <a:lstStyle/>
          <a:p>
            <a:pPr marL="0" marR="0" indent="0" algn="l" defTabSz="966612" rtl="0" eaLnBrk="1" fontAlgn="auto" latinLnBrk="0" hangingPunct="1">
              <a:lnSpc>
                <a:spcPct val="100000"/>
              </a:lnSpc>
              <a:spcBef>
                <a:spcPts val="0"/>
              </a:spcBef>
              <a:spcAft>
                <a:spcPts val="0"/>
              </a:spcAft>
              <a:buClrTx/>
              <a:buSzTx/>
              <a:buFontTx/>
              <a:buNone/>
              <a:tabLst/>
              <a:defRPr/>
            </a:pPr>
            <a:r>
              <a:rPr lang="en-US" sz="1300" dirty="0">
                <a:latin typeface="Arial" pitchFamily="34" charset="0"/>
                <a:cs typeface="Arial" pitchFamily="34" charset="0"/>
              </a:rPr>
              <a:t>ABAP	</a:t>
            </a:r>
            <a:endParaRPr lang="en-US" dirty="0">
              <a:latin typeface="Arial" pitchFamily="34" charset="0"/>
              <a:cs typeface="Arial" pitchFamily="34" charset="0"/>
            </a:endParaRPr>
          </a:p>
        </p:txBody>
      </p:sp>
      <p:sp>
        <p:nvSpPr>
          <p:cNvPr id="2" name="Slide Number Placeholder 1"/>
          <p:cNvSpPr>
            <a:spLocks noGrp="1"/>
          </p:cNvSpPr>
          <p:nvPr>
            <p:ph type="sldNum" sz="quarter" idx="5"/>
          </p:nvPr>
        </p:nvSpPr>
        <p:spPr>
          <a:xfrm>
            <a:off x="3838577" y="8787818"/>
            <a:ext cx="3170238" cy="300037"/>
          </a:xfrm>
          <a:prstGeom prst="rect">
            <a:avLst/>
          </a:prstGeom>
        </p:spPr>
        <p:txBody>
          <a:bodyPr vert="horz" lIns="91440" tIns="45720" rIns="91440" bIns="45720" rtlCol="0" anchor="b"/>
          <a:lstStyle>
            <a:lvl1pPr algn="r">
              <a:defRPr sz="1200"/>
            </a:lvl1pPr>
          </a:lstStyle>
          <a:p>
            <a:r>
              <a:rPr lang="en-US" dirty="0"/>
              <a:t>Page 01-‹#› </a:t>
            </a:r>
          </a:p>
        </p:txBody>
      </p:sp>
      <p:sp>
        <p:nvSpPr>
          <p:cNvPr id="3" name="Slide Image Placeholder 2"/>
          <p:cNvSpPr>
            <a:spLocks noGrp="1" noRot="1" noChangeAspect="1"/>
          </p:cNvSpPr>
          <p:nvPr>
            <p:ph type="sldImg" idx="2"/>
          </p:nvPr>
        </p:nvSpPr>
        <p:spPr>
          <a:xfrm>
            <a:off x="1497013" y="485062"/>
            <a:ext cx="5465261" cy="3955176"/>
          </a:xfrm>
          <a:prstGeom prst="rect">
            <a:avLst/>
          </a:prstGeom>
          <a:noFill/>
          <a:ln w="12700">
            <a:solidFill>
              <a:prstClr val="black"/>
            </a:solidFill>
          </a:ln>
        </p:spPr>
        <p:txBody>
          <a:bodyPr vert="horz" lIns="91440" tIns="45720" rIns="91440" bIns="45720" rtlCol="0" anchor="ctr"/>
          <a:lstStyle/>
          <a:p>
            <a:endParaRPr lang="en-US"/>
          </a:p>
        </p:txBody>
      </p:sp>
      <p:sp>
        <p:nvSpPr>
          <p:cNvPr id="6" name="Notes Placeholder 5"/>
          <p:cNvSpPr>
            <a:spLocks noGrp="1"/>
          </p:cNvSpPr>
          <p:nvPr>
            <p:ph type="body" sz="quarter" idx="3"/>
          </p:nvPr>
        </p:nvSpPr>
        <p:spPr>
          <a:xfrm>
            <a:off x="1497013" y="4621213"/>
            <a:ext cx="5439274" cy="4130009"/>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22094422"/>
      </p:ext>
    </p:extLst>
  </p:cSld>
  <p:clrMap bg1="lt1" tx1="dk1" bg2="lt2" tx2="dk2" accent1="accent1" accent2="accent2" accent3="accent3" accent4="accent4" accent5="accent5" accent6="accent6" hlink="hlink" folHlink="folHlink"/>
  <p:hf dt="0"/>
  <p:notesStyle>
    <a:lvl1pPr marL="0" algn="l" defTabSz="914400" rtl="0" eaLnBrk="1" latinLnBrk="0" hangingPunct="1">
      <a:defRPr sz="1000" kern="1200">
        <a:solidFill>
          <a:schemeClr val="tx1"/>
        </a:solidFill>
        <a:latin typeface="Arial" pitchFamily="34" charset="0"/>
        <a:ea typeface="+mn-ea"/>
        <a:cs typeface="Arial" pitchFamily="34" charset="0"/>
      </a:defRPr>
    </a:lvl1pPr>
    <a:lvl2pPr marL="457200" algn="l" defTabSz="914400" rtl="0" eaLnBrk="1" latinLnBrk="0" hangingPunct="1">
      <a:defRPr sz="1000" kern="1200">
        <a:solidFill>
          <a:schemeClr val="tx1"/>
        </a:solidFill>
        <a:latin typeface="Arial" pitchFamily="34" charset="0"/>
        <a:ea typeface="+mn-ea"/>
        <a:cs typeface="Arial" pitchFamily="34" charset="0"/>
      </a:defRPr>
    </a:lvl2pPr>
    <a:lvl3pPr marL="914400" algn="l" defTabSz="914400" rtl="0" eaLnBrk="1" latinLnBrk="0" hangingPunct="1">
      <a:defRPr sz="1000" kern="1200">
        <a:solidFill>
          <a:schemeClr val="tx1"/>
        </a:solidFill>
        <a:latin typeface="Arial" pitchFamily="34" charset="0"/>
        <a:ea typeface="+mn-ea"/>
        <a:cs typeface="Arial" pitchFamily="34" charset="0"/>
      </a:defRPr>
    </a:lvl3pPr>
    <a:lvl4pPr marL="1371600" algn="l" defTabSz="914400" rtl="0" eaLnBrk="1" latinLnBrk="0" hangingPunct="1">
      <a:defRPr sz="1000" kern="1200">
        <a:solidFill>
          <a:schemeClr val="tx1"/>
        </a:solidFill>
        <a:latin typeface="Arial" pitchFamily="34" charset="0"/>
        <a:ea typeface="+mn-ea"/>
        <a:cs typeface="Arial" pitchFamily="34" charset="0"/>
      </a:defRPr>
    </a:lvl4pPr>
    <a:lvl5pPr marL="1828800" algn="l" defTabSz="914400" rtl="0" eaLnBrk="1" latinLnBrk="0" hangingPunct="1">
      <a:defRPr sz="1000" kern="1200">
        <a:solidFill>
          <a:schemeClr val="tx1"/>
        </a:solidFill>
        <a:latin typeface="Arial"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93850" y="485775"/>
            <a:ext cx="5272088" cy="3954463"/>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426122966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93850" y="485775"/>
            <a:ext cx="5272088" cy="3954463"/>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66299368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93850" y="485775"/>
            <a:ext cx="5272088" cy="3954463"/>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66299368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39863" y="500063"/>
            <a:ext cx="480060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47801486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93850" y="485775"/>
            <a:ext cx="5272088" cy="3954463"/>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66299368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93850" y="485775"/>
            <a:ext cx="5272088" cy="3954463"/>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66299368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93850" y="485775"/>
            <a:ext cx="5272088" cy="3954463"/>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66299368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93850" y="485775"/>
            <a:ext cx="5272088" cy="3954463"/>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66299368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93850" y="485775"/>
            <a:ext cx="5272088" cy="3954463"/>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66299368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93850" y="485775"/>
            <a:ext cx="5272088" cy="3954463"/>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66299368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93850" y="485775"/>
            <a:ext cx="5272088" cy="3954463"/>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66299368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93850" y="485775"/>
            <a:ext cx="5272088" cy="3954463"/>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45814218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93850" y="485775"/>
            <a:ext cx="5272088" cy="3954463"/>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66299368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93850" y="485775"/>
            <a:ext cx="5272088" cy="3954463"/>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66299368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93850" y="485775"/>
            <a:ext cx="5272088" cy="3954463"/>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66299368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93850" y="485775"/>
            <a:ext cx="5272088" cy="3954463"/>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66299368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93850" y="485775"/>
            <a:ext cx="5272088" cy="3954463"/>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66299368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93850" y="485775"/>
            <a:ext cx="5272088" cy="3954463"/>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662993688"/>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39863" y="500063"/>
            <a:ext cx="480060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07561523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2174875" y="549275"/>
            <a:ext cx="4800600" cy="3600450"/>
          </a:xfrm>
        </p:spPr>
      </p:sp>
      <p:sp>
        <p:nvSpPr>
          <p:cNvPr id="5" name="Notes Placeholder 4"/>
          <p:cNvSpPr>
            <a:spLocks noGrp="1"/>
          </p:cNvSpPr>
          <p:nvPr>
            <p:ph type="body" idx="1"/>
          </p:nvPr>
        </p:nvSpPr>
        <p:spPr/>
        <p:txBody>
          <a:bodyPr/>
          <a:lstStyle/>
          <a:p>
            <a:endParaRPr lang="en-US"/>
          </a:p>
        </p:txBody>
      </p:sp>
    </p:spTree>
    <p:extLst>
      <p:ext uri="{BB962C8B-B14F-4D97-AF65-F5344CB8AC3E}">
        <p14:creationId xmlns:p14="http://schemas.microsoft.com/office/powerpoint/2010/main" val="107474598"/>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93850" y="485775"/>
            <a:ext cx="5272088" cy="3954463"/>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662993688"/>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93850" y="485775"/>
            <a:ext cx="5272088" cy="3954463"/>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66299368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93850" y="485775"/>
            <a:ext cx="5272088" cy="3954463"/>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943614004"/>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93850" y="485775"/>
            <a:ext cx="5272088" cy="3954463"/>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662993688"/>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39863" y="500063"/>
            <a:ext cx="480060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234712404"/>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93850" y="485775"/>
            <a:ext cx="5272088" cy="3954463"/>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662993688"/>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39863" y="500063"/>
            <a:ext cx="480060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977565573"/>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93850" y="485775"/>
            <a:ext cx="5272088" cy="3954463"/>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662993688"/>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93850" y="485775"/>
            <a:ext cx="5272088" cy="3954463"/>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662993688"/>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93850" y="485775"/>
            <a:ext cx="5272088" cy="3954463"/>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662993688"/>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39863" y="500063"/>
            <a:ext cx="480060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297408842"/>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93850" y="485775"/>
            <a:ext cx="5272088" cy="3954463"/>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662993688"/>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93850" y="485775"/>
            <a:ext cx="5272088" cy="3954463"/>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66299368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93850" y="485775"/>
            <a:ext cx="5272088" cy="3954463"/>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943614004"/>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93850" y="485775"/>
            <a:ext cx="5272088" cy="3954463"/>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662993688"/>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93850" y="485775"/>
            <a:ext cx="5272088" cy="3954463"/>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662993688"/>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93850" y="485775"/>
            <a:ext cx="5272088" cy="3954463"/>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662993688"/>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93850" y="485775"/>
            <a:ext cx="5272088" cy="3954463"/>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662993688"/>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93850" y="485775"/>
            <a:ext cx="5272088" cy="3954463"/>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662993688"/>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93850" y="485775"/>
            <a:ext cx="5272088" cy="3954463"/>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662993688"/>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93850" y="485775"/>
            <a:ext cx="5272088" cy="3954463"/>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662993688"/>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93850" y="485775"/>
            <a:ext cx="5272088" cy="3954463"/>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662993688"/>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r>
              <a:rPr lang="en-US"/>
              <a:t>Page 01-‹#› </a:t>
            </a:r>
            <a:endParaRPr lang="en-US" dirty="0"/>
          </a:p>
        </p:txBody>
      </p:sp>
      <p:sp>
        <p:nvSpPr>
          <p:cNvPr id="6" name="Slide Image Placeholder 5"/>
          <p:cNvSpPr>
            <a:spLocks noGrp="1" noRot="1" noChangeAspect="1"/>
          </p:cNvSpPr>
          <p:nvPr>
            <p:ph type="sldImg"/>
          </p:nvPr>
        </p:nvSpPr>
        <p:spPr>
          <a:xfrm>
            <a:off x="1593850" y="485775"/>
            <a:ext cx="5272088" cy="3954463"/>
          </a:xfrm>
        </p:spPr>
      </p:sp>
      <p:sp>
        <p:nvSpPr>
          <p:cNvPr id="7" name="Notes Placeholder 6"/>
          <p:cNvSpPr>
            <a:spLocks noGrp="1"/>
          </p:cNvSpPr>
          <p:nvPr>
            <p:ph type="body" idx="1"/>
          </p:nvPr>
        </p:nvSpPr>
        <p:spPr/>
        <p:txBody>
          <a:bodyPr/>
          <a:lstStyle/>
          <a:p>
            <a:endParaRPr lang="en-US"/>
          </a:p>
        </p:txBody>
      </p:sp>
    </p:spTree>
    <p:extLst>
      <p:ext uri="{BB962C8B-B14F-4D97-AF65-F5344CB8AC3E}">
        <p14:creationId xmlns:p14="http://schemas.microsoft.com/office/powerpoint/2010/main" val="2352406529"/>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Image Placeholder 5"/>
          <p:cNvSpPr>
            <a:spLocks noGrp="1" noRot="1" noChangeAspect="1"/>
          </p:cNvSpPr>
          <p:nvPr>
            <p:ph type="sldImg"/>
          </p:nvPr>
        </p:nvSpPr>
        <p:spPr>
          <a:xfrm>
            <a:off x="1593850" y="485775"/>
            <a:ext cx="5272088" cy="3954463"/>
          </a:xfrm>
        </p:spPr>
      </p:sp>
      <p:sp>
        <p:nvSpPr>
          <p:cNvPr id="7" name="Notes Placeholder 6"/>
          <p:cNvSpPr>
            <a:spLocks noGrp="1"/>
          </p:cNvSpPr>
          <p:nvPr>
            <p:ph type="body" idx="1"/>
          </p:nvPr>
        </p:nvSpPr>
        <p:spPr/>
        <p:txBody>
          <a:bodyPr/>
          <a:lstStyle/>
          <a:p>
            <a:endParaRPr lang="en-US"/>
          </a:p>
        </p:txBody>
      </p:sp>
    </p:spTree>
    <p:extLst>
      <p:ext uri="{BB962C8B-B14F-4D97-AF65-F5344CB8AC3E}">
        <p14:creationId xmlns:p14="http://schemas.microsoft.com/office/powerpoint/2010/main" val="61970359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93850" y="485775"/>
            <a:ext cx="5272088" cy="3954463"/>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66299368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93850" y="485775"/>
            <a:ext cx="5272088" cy="3954463"/>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66299368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r>
              <a:rPr lang="en-US"/>
              <a:t>Page 01-‹#› </a:t>
            </a:r>
            <a:endParaRPr lang="en-US" dirty="0"/>
          </a:p>
        </p:txBody>
      </p:sp>
      <p:sp>
        <p:nvSpPr>
          <p:cNvPr id="6" name="Slide Image Placeholder 5"/>
          <p:cNvSpPr>
            <a:spLocks noGrp="1" noRot="1" noChangeAspect="1"/>
          </p:cNvSpPr>
          <p:nvPr>
            <p:ph type="sldImg"/>
          </p:nvPr>
        </p:nvSpPr>
        <p:spPr>
          <a:xfrm>
            <a:off x="1593850" y="485775"/>
            <a:ext cx="5272088" cy="3954463"/>
          </a:xfrm>
        </p:spPr>
      </p:sp>
      <p:sp>
        <p:nvSpPr>
          <p:cNvPr id="7" name="Notes Placeholder 6"/>
          <p:cNvSpPr>
            <a:spLocks noGrp="1"/>
          </p:cNvSpPr>
          <p:nvPr>
            <p:ph type="body" idx="1"/>
          </p:nvPr>
        </p:nvSpPr>
        <p:spPr/>
        <p:txBody>
          <a:bodyPr/>
          <a:lstStyle/>
          <a:p>
            <a:endParaRPr lang="en-US"/>
          </a:p>
        </p:txBody>
      </p:sp>
    </p:spTree>
    <p:extLst>
      <p:ext uri="{BB962C8B-B14F-4D97-AF65-F5344CB8AC3E}">
        <p14:creationId xmlns:p14="http://schemas.microsoft.com/office/powerpoint/2010/main" val="17271135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39863" y="500063"/>
            <a:ext cx="480060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57108369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93850" y="485775"/>
            <a:ext cx="5272088" cy="3954463"/>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66299368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slideMaster" Target="../slideMasters/slideMaster1.xml"/><Relationship Id="rId1" Type="http://schemas.openxmlformats.org/officeDocument/2006/relationships/tags" Target="../tags/tag8.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slideMaster" Target="../slideMasters/slideMaster1.xml"/><Relationship Id="rId1" Type="http://schemas.openxmlformats.org/officeDocument/2006/relationships/tags" Target="../tags/tag9.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8" Type="http://schemas.openxmlformats.org/officeDocument/2006/relationships/image" Target="../media/image15.png"/><Relationship Id="rId13" Type="http://schemas.openxmlformats.org/officeDocument/2006/relationships/hyperlink" Target="http://www.facebook.com/capgemini" TargetMode="External"/><Relationship Id="rId3" Type="http://schemas.openxmlformats.org/officeDocument/2006/relationships/hyperlink" Target="http://www.capgemini.com/about/how-we-work/rightshorer" TargetMode="External"/><Relationship Id="rId7" Type="http://schemas.openxmlformats.org/officeDocument/2006/relationships/hyperlink" Target="http://www.slideshare.net/capgemini" TargetMode="External"/><Relationship Id="rId12" Type="http://schemas.openxmlformats.org/officeDocument/2006/relationships/image" Target="../media/image17.png"/><Relationship Id="rId2" Type="http://schemas.openxmlformats.org/officeDocument/2006/relationships/hyperlink" Target="http://www.capgemini.com/about/how-we-work/the-collaborative-business-experiencetm" TargetMode="External"/><Relationship Id="rId1" Type="http://schemas.openxmlformats.org/officeDocument/2006/relationships/slideMaster" Target="../slideMasters/slideMaster4.xml"/><Relationship Id="rId6" Type="http://schemas.openxmlformats.org/officeDocument/2006/relationships/image" Target="../media/image14.png"/><Relationship Id="rId11" Type="http://schemas.openxmlformats.org/officeDocument/2006/relationships/hyperlink" Target="http://www.youtube.com/capgeminimedia" TargetMode="External"/><Relationship Id="rId5" Type="http://schemas.openxmlformats.org/officeDocument/2006/relationships/hyperlink" Target="http://www.linkedin.com/company/capgemini" TargetMode="External"/><Relationship Id="rId15" Type="http://schemas.openxmlformats.org/officeDocument/2006/relationships/image" Target="../media/image19.png"/><Relationship Id="rId10" Type="http://schemas.openxmlformats.org/officeDocument/2006/relationships/image" Target="../media/image16.png"/><Relationship Id="rId4" Type="http://schemas.openxmlformats.org/officeDocument/2006/relationships/hyperlink" Target="http://www.capgemini.com/" TargetMode="External"/><Relationship Id="rId9" Type="http://schemas.openxmlformats.org/officeDocument/2006/relationships/hyperlink" Target="http://www.twitter.com/capgemini" TargetMode="External"/><Relationship Id="rId14" Type="http://schemas.openxmlformats.org/officeDocument/2006/relationships/image" Target="../media/image18.png"/></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1.xml"/><Relationship Id="rId1" Type="http://schemas.openxmlformats.org/officeDocument/2006/relationships/tags" Target="../tags/tag10.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8.jpg"/><Relationship Id="rId2" Type="http://schemas.openxmlformats.org/officeDocument/2006/relationships/slideMaster" Target="../slideMasters/slideMaster4.xml"/><Relationship Id="rId1" Type="http://schemas.openxmlformats.org/officeDocument/2006/relationships/tags" Target="../tags/tag12.xml"/></Relationships>
</file>

<file path=ppt/slideLayouts/_rels/slideLayout25.xml.rels><?xml version="1.0" encoding="UTF-8" standalone="yes"?>
<Relationships xmlns="http://schemas.openxmlformats.org/package/2006/relationships"><Relationship Id="rId3" Type="http://schemas.openxmlformats.org/officeDocument/2006/relationships/tags" Target="../tags/tag14.xml"/><Relationship Id="rId7" Type="http://schemas.openxmlformats.org/officeDocument/2006/relationships/image" Target="../media/image9.emf"/><Relationship Id="rId2" Type="http://schemas.openxmlformats.org/officeDocument/2006/relationships/tags" Target="../tags/tag13.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4.xml"/><Relationship Id="rId4" Type="http://schemas.openxmlformats.org/officeDocument/2006/relationships/tags" Target="../tags/tag15.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slideMaster" Target="../slideMasters/slideMaster4.xml"/><Relationship Id="rId1" Type="http://schemas.openxmlformats.org/officeDocument/2006/relationships/tags" Target="../tags/tag16.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slideMaster" Target="../slideMasters/slideMaster4.xml"/><Relationship Id="rId1" Type="http://schemas.openxmlformats.org/officeDocument/2006/relationships/tags" Target="../tags/tag17.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slideMaster" Target="../slideMasters/slideMaster4.xml"/><Relationship Id="rId1" Type="http://schemas.openxmlformats.org/officeDocument/2006/relationships/tags" Target="../tags/tag18.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5.jpeg"/><Relationship Id="rId1" Type="http://schemas.openxmlformats.org/officeDocument/2006/relationships/slideMaster" Target="../slideMasters/slideMaster1.xml"/><Relationship Id="rId4" Type="http://schemas.openxmlformats.org/officeDocument/2006/relationships/image" Target="../media/image2.sv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 Id="rId5" Type="http://schemas.openxmlformats.org/officeDocument/2006/relationships/image" Target="../media/image2.svg"/><Relationship Id="rId4" Type="http://schemas.openxmlformats.org/officeDocument/2006/relationships/image" Target="../media/image1.png"/></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tags" Target="../tags/tag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8.jpg"/><Relationship Id="rId2" Type="http://schemas.openxmlformats.org/officeDocument/2006/relationships/slideMaster" Target="../slideMasters/slideMaster1.xml"/><Relationship Id="rId1" Type="http://schemas.openxmlformats.org/officeDocument/2006/relationships/tags" Target="../tags/tag3.xml"/></Relationships>
</file>

<file path=ppt/slideLayouts/_rels/slideLayout8.xml.rels><?xml version="1.0" encoding="UTF-8" standalone="yes"?>
<Relationships xmlns="http://schemas.openxmlformats.org/package/2006/relationships"><Relationship Id="rId3" Type="http://schemas.openxmlformats.org/officeDocument/2006/relationships/tags" Target="../tags/tag5.xml"/><Relationship Id="rId7" Type="http://schemas.openxmlformats.org/officeDocument/2006/relationships/image" Target="../media/image9.emf"/><Relationship Id="rId2" Type="http://schemas.openxmlformats.org/officeDocument/2006/relationships/tags" Target="../tags/tag4.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slideMaster" Target="../slideMasters/slideMaster1.xml"/><Relationship Id="rId4" Type="http://schemas.openxmlformats.org/officeDocument/2006/relationships/tags" Target="../tags/tag6.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slideMaster" Target="../slideMasters/slideMaster1.xml"/><Relationship Id="rId1" Type="http://schemas.openxmlformats.org/officeDocument/2006/relationships/tags" Target="../tags/tag7.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ver 1">
    <p:spTree>
      <p:nvGrpSpPr>
        <p:cNvPr id="1" name=""/>
        <p:cNvGrpSpPr/>
        <p:nvPr/>
      </p:nvGrpSpPr>
      <p:grpSpPr>
        <a:xfrm>
          <a:off x="0" y="0"/>
          <a:ext cx="0" cy="0"/>
          <a:chOff x="0" y="0"/>
          <a:chExt cx="0" cy="0"/>
        </a:xfrm>
      </p:grpSpPr>
      <p:sp>
        <p:nvSpPr>
          <p:cNvPr id="4" name="Rectangle 3"/>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pic>
        <p:nvPicPr>
          <p:cNvPr id="13" name="Graphic 9">
            <a:extLst>
              <a:ext uri="{FF2B5EF4-FFF2-40B4-BE49-F238E27FC236}">
                <a16:creationId xmlns:a16="http://schemas.microsoft.com/office/drawing/2014/main" id="{C3D2EC56-D17C-4A75-8178-C69397BC7353}"/>
              </a:ext>
            </a:extLst>
          </p:cNvPr>
          <p:cNvPicPr>
            <a:picLocks noChangeAspect="1"/>
          </p:cNvPicPr>
          <p:nvPr/>
        </p:nvPicPr>
        <p:blipFill>
          <a:blip r:embed="rId2" cstate="print">
            <a:extLst>
              <a:ext uri="{96DAC541-7B7A-43D3-8B79-37D633B846F1}">
                <asvg:svgBlip xmlns:asvg="http://schemas.microsoft.com/office/drawing/2016/SVG/main" r:embed="rId3"/>
              </a:ext>
            </a:extLst>
          </a:blip>
          <a:stretch>
            <a:fillRect/>
          </a:stretch>
        </p:blipFill>
        <p:spPr>
          <a:xfrm>
            <a:off x="407917" y="404665"/>
            <a:ext cx="2285603" cy="510013"/>
          </a:xfrm>
          <a:prstGeom prst="rect">
            <a:avLst/>
          </a:prstGeom>
        </p:spPr>
      </p:pic>
      <p:pic>
        <p:nvPicPr>
          <p:cNvPr id="17" name="Graphic 17">
            <a:extLst>
              <a:ext uri="{FF2B5EF4-FFF2-40B4-BE49-F238E27FC236}">
                <a16:creationId xmlns:a16="http://schemas.microsoft.com/office/drawing/2014/main" id="{829BBBD1-ECF6-4131-A3B0-11EFC39DB482}"/>
              </a:ext>
            </a:extLst>
          </p:cNvPr>
          <p:cNvPicPr>
            <a:picLocks noChangeAspect="1"/>
          </p:cNvPicPr>
          <p:nvPr/>
        </p:nvPicPr>
        <p:blipFill rotWithShape="1">
          <a:blip r:embed="rId4" cstate="print">
            <a:extLst>
              <a:ext uri="{96DAC541-7B7A-43D3-8B79-37D633B846F1}">
                <asvg:svgBlip xmlns:asvg="http://schemas.microsoft.com/office/drawing/2016/SVG/main" r:embed="rId5"/>
              </a:ext>
            </a:extLst>
          </a:blip>
          <a:srcRect l="25151" t="1" b="46599"/>
          <a:stretch/>
        </p:blipFill>
        <p:spPr>
          <a:xfrm flipH="1">
            <a:off x="2844108" y="1844825"/>
            <a:ext cx="6299892" cy="5013176"/>
          </a:xfrm>
          <a:prstGeom prst="rect">
            <a:avLst/>
          </a:prstGeom>
        </p:spPr>
      </p:pic>
      <p:sp>
        <p:nvSpPr>
          <p:cNvPr id="14" name="Text Placeholder 13">
            <a:extLst>
              <a:ext uri="{FF2B5EF4-FFF2-40B4-BE49-F238E27FC236}">
                <a16:creationId xmlns:a16="http://schemas.microsoft.com/office/drawing/2014/main" id="{4252348C-45B4-48E3-B74B-8E834575C8AA}"/>
              </a:ext>
            </a:extLst>
          </p:cNvPr>
          <p:cNvSpPr>
            <a:spLocks noGrp="1"/>
          </p:cNvSpPr>
          <p:nvPr>
            <p:ph type="body" sz="quarter" idx="10" hasCustomPrompt="1"/>
          </p:nvPr>
        </p:nvSpPr>
        <p:spPr>
          <a:xfrm>
            <a:off x="3636058" y="4157668"/>
            <a:ext cx="5039685" cy="1079500"/>
          </a:xfrm>
        </p:spPr>
        <p:txBody>
          <a:bodyPr anchor="b">
            <a:normAutofit/>
          </a:bodyPr>
          <a:lstStyle>
            <a:lvl1pPr algn="l">
              <a:lnSpc>
                <a:spcPts val="2999"/>
              </a:lnSpc>
              <a:defRPr sz="2599">
                <a:solidFill>
                  <a:schemeClr val="bg1"/>
                </a:solidFill>
              </a:defRPr>
            </a:lvl1pPr>
          </a:lstStyle>
          <a:p>
            <a:pPr lvl="0"/>
            <a:r>
              <a:rPr lang="en-US" dirty="0"/>
              <a:t>Click to insert title</a:t>
            </a:r>
          </a:p>
        </p:txBody>
      </p:sp>
      <p:sp>
        <p:nvSpPr>
          <p:cNvPr id="15" name="Text Placeholder 13">
            <a:extLst>
              <a:ext uri="{FF2B5EF4-FFF2-40B4-BE49-F238E27FC236}">
                <a16:creationId xmlns:a16="http://schemas.microsoft.com/office/drawing/2014/main" id="{97620309-84FF-4D53-AD39-936B55216B4B}"/>
              </a:ext>
            </a:extLst>
          </p:cNvPr>
          <p:cNvSpPr>
            <a:spLocks noGrp="1"/>
          </p:cNvSpPr>
          <p:nvPr>
            <p:ph type="body" sz="quarter" idx="11" hasCustomPrompt="1"/>
          </p:nvPr>
        </p:nvSpPr>
        <p:spPr>
          <a:xfrm>
            <a:off x="3636058" y="5381481"/>
            <a:ext cx="5039685" cy="1079500"/>
          </a:xfrm>
        </p:spPr>
        <p:txBody>
          <a:bodyPr anchor="t">
            <a:normAutofit/>
          </a:bodyPr>
          <a:lstStyle>
            <a:lvl1pPr marL="0" algn="l">
              <a:lnSpc>
                <a:spcPts val="2200"/>
              </a:lnSpc>
              <a:defRPr sz="1800">
                <a:solidFill>
                  <a:schemeClr val="bg1"/>
                </a:solidFill>
              </a:defRPr>
            </a:lvl1pPr>
          </a:lstStyle>
          <a:p>
            <a:pPr marL="0" lvl="0"/>
            <a:r>
              <a:rPr lang="en-US" dirty="0"/>
              <a:t>Click to insert presenter, location, and date</a:t>
            </a:r>
          </a:p>
        </p:txBody>
      </p:sp>
    </p:spTree>
    <p:extLst>
      <p:ext uri="{BB962C8B-B14F-4D97-AF65-F5344CB8AC3E}">
        <p14:creationId xmlns:p14="http://schemas.microsoft.com/office/powerpoint/2010/main" val="1085113506"/>
      </p:ext>
    </p:extLst>
  </p:cSld>
  <p:clrMapOvr>
    <a:masterClrMapping/>
  </p:clrMapOvr>
  <p:hf sldNum="0" hdr="0" dt="0"/>
</p:sldLayout>
</file>

<file path=ppt/slideLayouts/slideLayout1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lang="en-US" sz="2200" b="0" kern="1200" dirty="0" smtClean="0">
                <a:solidFill>
                  <a:schemeClr val="bg2">
                    <a:lumMod val="50000"/>
                  </a:schemeClr>
                </a:solidFill>
                <a:latin typeface="+mn-lt"/>
                <a:ea typeface="+mn-ea"/>
                <a:cs typeface="+mn-cs"/>
              </a:defRPr>
            </a:lvl1pPr>
            <a:lvl4pPr>
              <a:defRPr lang="en-US" sz="1600" kern="1200" dirty="0" smtClean="0">
                <a:solidFill>
                  <a:schemeClr val="bg1">
                    <a:lumMod val="50000"/>
                  </a:schemeClr>
                </a:solidFill>
                <a:latin typeface="Candara" panose="020E0502030303020204" pitchFamily="34" charset="0"/>
                <a:ea typeface="+mn-ea"/>
                <a:cs typeface="+mn-cs"/>
              </a:defRPr>
            </a:lvl4pPr>
            <a:lvl5pPr>
              <a:defRPr lang="en-US" sz="1600" kern="1200" dirty="0">
                <a:solidFill>
                  <a:schemeClr val="bg1">
                    <a:lumMod val="50000"/>
                  </a:schemeClr>
                </a:solidFill>
                <a:latin typeface="Candara" panose="020E0502030303020204" pitchFamily="34" charset="0"/>
                <a:ea typeface="+mn-ea"/>
                <a:cs typeface="+mn-cs"/>
              </a:defRPr>
            </a:lvl5pPr>
          </a:lstStyle>
          <a:p>
            <a:pPr lvl="0"/>
            <a:r>
              <a:rPr lang="en-US" dirty="0"/>
              <a:t>Click to edit Master text styles</a:t>
            </a:r>
          </a:p>
          <a:p>
            <a:pPr lvl="1"/>
            <a:r>
              <a:rPr lang="en-US" dirty="0"/>
              <a:t>Second level</a:t>
            </a:r>
          </a:p>
          <a:p>
            <a:pPr lvl="2"/>
            <a:r>
              <a:rPr lang="en-US" dirty="0"/>
              <a:t>Third level</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r>
              <a:rPr lang="en-US"/>
              <a:t>Capgemini Public</a:t>
            </a:r>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307571744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20482"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8364816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9458"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9096272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pl-PL"/>
          </a:p>
        </p:txBody>
      </p:sp>
    </p:spTree>
    <p:extLst>
      <p:ext uri="{BB962C8B-B14F-4D97-AF65-F5344CB8AC3E}">
        <p14:creationId xmlns:p14="http://schemas.microsoft.com/office/powerpoint/2010/main" val="380866528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pl-PL"/>
          </a:p>
        </p:txBody>
      </p:sp>
      <p:sp>
        <p:nvSpPr>
          <p:cNvPr id="8" name="Content Placeholder 7"/>
          <p:cNvSpPr>
            <a:spLocks noGrp="1"/>
          </p:cNvSpPr>
          <p:nvPr>
            <p:ph sz="quarter" idx="10"/>
          </p:nvPr>
        </p:nvSpPr>
        <p:spPr>
          <a:xfrm>
            <a:off x="324266" y="1412776"/>
            <a:ext cx="8495469" cy="489654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pl-PL" dirty="0"/>
          </a:p>
        </p:txBody>
      </p:sp>
    </p:spTree>
    <p:extLst>
      <p:ext uri="{BB962C8B-B14F-4D97-AF65-F5344CB8AC3E}">
        <p14:creationId xmlns:p14="http://schemas.microsoft.com/office/powerpoint/2010/main" val="193777698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pl-PL"/>
          </a:p>
        </p:txBody>
      </p:sp>
      <p:sp>
        <p:nvSpPr>
          <p:cNvPr id="4" name="Content Placeholder 7"/>
          <p:cNvSpPr>
            <a:spLocks noGrp="1"/>
          </p:cNvSpPr>
          <p:nvPr>
            <p:ph sz="quarter" idx="10"/>
          </p:nvPr>
        </p:nvSpPr>
        <p:spPr>
          <a:xfrm>
            <a:off x="324266" y="1628800"/>
            <a:ext cx="8495469" cy="468052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pl-PL" dirty="0"/>
          </a:p>
        </p:txBody>
      </p:sp>
      <p:sp>
        <p:nvSpPr>
          <p:cNvPr id="5" name="Text Placeholder 5"/>
          <p:cNvSpPr>
            <a:spLocks noGrp="1"/>
          </p:cNvSpPr>
          <p:nvPr userDrawn="1">
            <p:ph type="body" sz="quarter" idx="11"/>
          </p:nvPr>
        </p:nvSpPr>
        <p:spPr>
          <a:xfrm>
            <a:off x="324265" y="1148607"/>
            <a:ext cx="8495470" cy="504056"/>
          </a:xfrm>
        </p:spPr>
        <p:txBody>
          <a:bodyPr/>
          <a:lstStyle>
            <a:lvl1pPr>
              <a:defRPr>
                <a:solidFill>
                  <a:schemeClr val="accent2"/>
                </a:solidFill>
              </a:defRPr>
            </a:lvl1pPr>
          </a:lstStyle>
          <a:p>
            <a:pPr lvl="0"/>
            <a:r>
              <a:rPr lang="en-US"/>
              <a:t>Edit Master text styles</a:t>
            </a:r>
          </a:p>
        </p:txBody>
      </p:sp>
    </p:spTree>
    <p:extLst>
      <p:ext uri="{BB962C8B-B14F-4D97-AF65-F5344CB8AC3E}">
        <p14:creationId xmlns:p14="http://schemas.microsoft.com/office/powerpoint/2010/main" val="270921086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 2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pl-PL"/>
          </a:p>
        </p:txBody>
      </p:sp>
      <p:sp>
        <p:nvSpPr>
          <p:cNvPr id="8" name="Content Placeholder 7"/>
          <p:cNvSpPr>
            <a:spLocks noGrp="1"/>
          </p:cNvSpPr>
          <p:nvPr>
            <p:ph sz="quarter" idx="10"/>
          </p:nvPr>
        </p:nvSpPr>
        <p:spPr>
          <a:xfrm>
            <a:off x="324266" y="1412776"/>
            <a:ext cx="4103743" cy="489654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pl-PL" dirty="0"/>
          </a:p>
        </p:txBody>
      </p:sp>
      <p:sp>
        <p:nvSpPr>
          <p:cNvPr id="5" name="Content Placeholder 7"/>
          <p:cNvSpPr>
            <a:spLocks noGrp="1"/>
          </p:cNvSpPr>
          <p:nvPr>
            <p:ph sz="quarter" idx="11"/>
          </p:nvPr>
        </p:nvSpPr>
        <p:spPr>
          <a:xfrm>
            <a:off x="4715991" y="1412776"/>
            <a:ext cx="4103743" cy="489654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pl-PL" dirty="0"/>
          </a:p>
        </p:txBody>
      </p:sp>
    </p:spTree>
    <p:extLst>
      <p:ext uri="{BB962C8B-B14F-4D97-AF65-F5344CB8AC3E}">
        <p14:creationId xmlns:p14="http://schemas.microsoft.com/office/powerpoint/2010/main" val="427095242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_Content 2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pl-PL"/>
          </a:p>
        </p:txBody>
      </p:sp>
      <p:sp>
        <p:nvSpPr>
          <p:cNvPr id="8" name="Content Placeholder 7"/>
          <p:cNvSpPr>
            <a:spLocks noGrp="1"/>
          </p:cNvSpPr>
          <p:nvPr>
            <p:ph sz="quarter" idx="10"/>
          </p:nvPr>
        </p:nvSpPr>
        <p:spPr>
          <a:xfrm>
            <a:off x="324266" y="1412776"/>
            <a:ext cx="2663833" cy="489654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pl-PL" dirty="0"/>
          </a:p>
        </p:txBody>
      </p:sp>
      <p:sp>
        <p:nvSpPr>
          <p:cNvPr id="12" name="Content Placeholder 7"/>
          <p:cNvSpPr>
            <a:spLocks noGrp="1"/>
          </p:cNvSpPr>
          <p:nvPr>
            <p:ph sz="quarter" idx="11"/>
          </p:nvPr>
        </p:nvSpPr>
        <p:spPr>
          <a:xfrm>
            <a:off x="3257035" y="1412776"/>
            <a:ext cx="2663833" cy="489654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pl-PL" dirty="0"/>
          </a:p>
        </p:txBody>
      </p:sp>
      <p:sp>
        <p:nvSpPr>
          <p:cNvPr id="13" name="Content Placeholder 7"/>
          <p:cNvSpPr>
            <a:spLocks noGrp="1"/>
          </p:cNvSpPr>
          <p:nvPr>
            <p:ph sz="quarter" idx="12"/>
          </p:nvPr>
        </p:nvSpPr>
        <p:spPr>
          <a:xfrm>
            <a:off x="6155901" y="1412776"/>
            <a:ext cx="2663833" cy="489654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pl-PL" dirty="0"/>
          </a:p>
        </p:txBody>
      </p:sp>
    </p:spTree>
    <p:extLst>
      <p:ext uri="{BB962C8B-B14F-4D97-AF65-F5344CB8AC3E}">
        <p14:creationId xmlns:p14="http://schemas.microsoft.com/office/powerpoint/2010/main" val="426911232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Divider 1">
    <p:spTree>
      <p:nvGrpSpPr>
        <p:cNvPr id="1" name=""/>
        <p:cNvGrpSpPr/>
        <p:nvPr/>
      </p:nvGrpSpPr>
      <p:grpSpPr>
        <a:xfrm>
          <a:off x="0" y="0"/>
          <a:ext cx="0" cy="0"/>
          <a:chOff x="0" y="0"/>
          <a:chExt cx="0" cy="0"/>
        </a:xfrm>
      </p:grpSpPr>
      <p:sp>
        <p:nvSpPr>
          <p:cNvPr id="4" name="Freeform 3"/>
          <p:cNvSpPr>
            <a:spLocks/>
          </p:cNvSpPr>
          <p:nvPr userDrawn="1"/>
        </p:nvSpPr>
        <p:spPr bwMode="auto">
          <a:xfrm>
            <a:off x="-11004" y="-1"/>
            <a:ext cx="8446086" cy="6868950"/>
          </a:xfrm>
          <a:custGeom>
            <a:avLst/>
            <a:gdLst>
              <a:gd name="T0" fmla="*/ 1453 w 1637"/>
              <a:gd name="T1" fmla="*/ 0 h 1514"/>
              <a:gd name="T2" fmla="*/ 1238 w 1637"/>
              <a:gd name="T3" fmla="*/ 494 h 1514"/>
              <a:gd name="T4" fmla="*/ 763 w 1637"/>
              <a:gd name="T5" fmla="*/ 1046 h 1514"/>
              <a:gd name="T6" fmla="*/ 0 w 1637"/>
              <a:gd name="T7" fmla="*/ 1449 h 1514"/>
              <a:gd name="T8" fmla="*/ 0 w 1637"/>
              <a:gd name="T9" fmla="*/ 0 h 1514"/>
              <a:gd name="T10" fmla="*/ 1453 w 1637"/>
              <a:gd name="T11" fmla="*/ 0 h 1514"/>
              <a:gd name="connsiteX0" fmla="*/ 8876 w 10000"/>
              <a:gd name="connsiteY0" fmla="*/ 0 h 10000"/>
              <a:gd name="connsiteX1" fmla="*/ 7563 w 10000"/>
              <a:gd name="connsiteY1" fmla="*/ 3263 h 10000"/>
              <a:gd name="connsiteX2" fmla="*/ 4661 w 10000"/>
              <a:gd name="connsiteY2" fmla="*/ 6909 h 10000"/>
              <a:gd name="connsiteX3" fmla="*/ 0 w 10000"/>
              <a:gd name="connsiteY3" fmla="*/ 9571 h 10000"/>
              <a:gd name="connsiteX4" fmla="*/ 357 w 10000"/>
              <a:gd name="connsiteY4" fmla="*/ 0 h 10000"/>
              <a:gd name="connsiteX5" fmla="*/ 8876 w 10000"/>
              <a:gd name="connsiteY5" fmla="*/ 0 h 10000"/>
              <a:gd name="connsiteX0" fmla="*/ 8519 w 9643"/>
              <a:gd name="connsiteY0" fmla="*/ 0 h 10000"/>
              <a:gd name="connsiteX1" fmla="*/ 7206 w 9643"/>
              <a:gd name="connsiteY1" fmla="*/ 3263 h 10000"/>
              <a:gd name="connsiteX2" fmla="*/ 4304 w 9643"/>
              <a:gd name="connsiteY2" fmla="*/ 6909 h 10000"/>
              <a:gd name="connsiteX3" fmla="*/ 1287 w 9643"/>
              <a:gd name="connsiteY3" fmla="*/ 6542 h 10000"/>
              <a:gd name="connsiteX4" fmla="*/ 0 w 9643"/>
              <a:gd name="connsiteY4" fmla="*/ 0 h 10000"/>
              <a:gd name="connsiteX5" fmla="*/ 8519 w 9643"/>
              <a:gd name="connsiteY5" fmla="*/ 0 h 10000"/>
              <a:gd name="connsiteX0" fmla="*/ 8834 w 10000"/>
              <a:gd name="connsiteY0" fmla="*/ 0 h 10000"/>
              <a:gd name="connsiteX1" fmla="*/ 7473 w 10000"/>
              <a:gd name="connsiteY1" fmla="*/ 3263 h 10000"/>
              <a:gd name="connsiteX2" fmla="*/ 4463 w 10000"/>
              <a:gd name="connsiteY2" fmla="*/ 6909 h 10000"/>
              <a:gd name="connsiteX3" fmla="*/ 13 w 10000"/>
              <a:gd name="connsiteY3" fmla="*/ 8464 h 10000"/>
              <a:gd name="connsiteX4" fmla="*/ 0 w 10000"/>
              <a:gd name="connsiteY4" fmla="*/ 0 h 10000"/>
              <a:gd name="connsiteX5" fmla="*/ 8834 w 10000"/>
              <a:gd name="connsiteY5" fmla="*/ 0 h 10000"/>
              <a:gd name="connsiteX0" fmla="*/ 8834 w 10000"/>
              <a:gd name="connsiteY0" fmla="*/ 0 h 9888"/>
              <a:gd name="connsiteX1" fmla="*/ 7473 w 10000"/>
              <a:gd name="connsiteY1" fmla="*/ 3263 h 9888"/>
              <a:gd name="connsiteX2" fmla="*/ 4463 w 10000"/>
              <a:gd name="connsiteY2" fmla="*/ 6909 h 9888"/>
              <a:gd name="connsiteX3" fmla="*/ 2161 w 10000"/>
              <a:gd name="connsiteY3" fmla="*/ 8544 h 9888"/>
              <a:gd name="connsiteX4" fmla="*/ 13 w 10000"/>
              <a:gd name="connsiteY4" fmla="*/ 8464 h 9888"/>
              <a:gd name="connsiteX5" fmla="*/ 0 w 10000"/>
              <a:gd name="connsiteY5" fmla="*/ 0 h 9888"/>
              <a:gd name="connsiteX6" fmla="*/ 8834 w 10000"/>
              <a:gd name="connsiteY6" fmla="*/ 0 h 9888"/>
              <a:gd name="connsiteX0" fmla="*/ 8834 w 10000"/>
              <a:gd name="connsiteY0" fmla="*/ 0 h 10000"/>
              <a:gd name="connsiteX1" fmla="*/ 7473 w 10000"/>
              <a:gd name="connsiteY1" fmla="*/ 3300 h 10000"/>
              <a:gd name="connsiteX2" fmla="*/ 4463 w 10000"/>
              <a:gd name="connsiteY2" fmla="*/ 6987 h 10000"/>
              <a:gd name="connsiteX3" fmla="*/ 2528 w 10000"/>
              <a:gd name="connsiteY3" fmla="*/ 8559 h 10000"/>
              <a:gd name="connsiteX4" fmla="*/ 13 w 10000"/>
              <a:gd name="connsiteY4" fmla="*/ 8560 h 10000"/>
              <a:gd name="connsiteX5" fmla="*/ 0 w 10000"/>
              <a:gd name="connsiteY5" fmla="*/ 0 h 10000"/>
              <a:gd name="connsiteX6" fmla="*/ 8834 w 10000"/>
              <a:gd name="connsiteY6" fmla="*/ 0 h 10000"/>
              <a:gd name="connsiteX0" fmla="*/ 8834 w 10000"/>
              <a:gd name="connsiteY0" fmla="*/ 0 h 10000"/>
              <a:gd name="connsiteX1" fmla="*/ 7473 w 10000"/>
              <a:gd name="connsiteY1" fmla="*/ 3300 h 10000"/>
              <a:gd name="connsiteX2" fmla="*/ 4463 w 10000"/>
              <a:gd name="connsiteY2" fmla="*/ 6987 h 10000"/>
              <a:gd name="connsiteX3" fmla="*/ 2528 w 10000"/>
              <a:gd name="connsiteY3" fmla="*/ 8559 h 10000"/>
              <a:gd name="connsiteX4" fmla="*/ 13 w 10000"/>
              <a:gd name="connsiteY4" fmla="*/ 8560 h 10000"/>
              <a:gd name="connsiteX5" fmla="*/ 0 w 10000"/>
              <a:gd name="connsiteY5" fmla="*/ 0 h 10000"/>
              <a:gd name="connsiteX6" fmla="*/ 8834 w 10000"/>
              <a:gd name="connsiteY6" fmla="*/ 0 h 10000"/>
              <a:gd name="connsiteX0" fmla="*/ 8834 w 10000"/>
              <a:gd name="connsiteY0" fmla="*/ 0 h 10000"/>
              <a:gd name="connsiteX1" fmla="*/ 7473 w 10000"/>
              <a:gd name="connsiteY1" fmla="*/ 3300 h 10000"/>
              <a:gd name="connsiteX2" fmla="*/ 4463 w 10000"/>
              <a:gd name="connsiteY2" fmla="*/ 6987 h 10000"/>
              <a:gd name="connsiteX3" fmla="*/ 2528 w 10000"/>
              <a:gd name="connsiteY3" fmla="*/ 8559 h 10000"/>
              <a:gd name="connsiteX4" fmla="*/ 13 w 10000"/>
              <a:gd name="connsiteY4" fmla="*/ 8560 h 10000"/>
              <a:gd name="connsiteX5" fmla="*/ 0 w 10000"/>
              <a:gd name="connsiteY5" fmla="*/ 0 h 10000"/>
              <a:gd name="connsiteX6" fmla="*/ 8834 w 10000"/>
              <a:gd name="connsiteY6" fmla="*/ 0 h 10000"/>
              <a:gd name="connsiteX0" fmla="*/ 8834 w 10000"/>
              <a:gd name="connsiteY0" fmla="*/ 0 h 8821"/>
              <a:gd name="connsiteX1" fmla="*/ 7473 w 10000"/>
              <a:gd name="connsiteY1" fmla="*/ 3300 h 8821"/>
              <a:gd name="connsiteX2" fmla="*/ 4463 w 10000"/>
              <a:gd name="connsiteY2" fmla="*/ 6987 h 8821"/>
              <a:gd name="connsiteX3" fmla="*/ 2528 w 10000"/>
              <a:gd name="connsiteY3" fmla="*/ 8559 h 8821"/>
              <a:gd name="connsiteX4" fmla="*/ 13 w 10000"/>
              <a:gd name="connsiteY4" fmla="*/ 8560 h 8821"/>
              <a:gd name="connsiteX5" fmla="*/ 0 w 10000"/>
              <a:gd name="connsiteY5" fmla="*/ 0 h 8821"/>
              <a:gd name="connsiteX6" fmla="*/ 8834 w 10000"/>
              <a:gd name="connsiteY6" fmla="*/ 0 h 8821"/>
              <a:gd name="connsiteX0" fmla="*/ 8834 w 10000"/>
              <a:gd name="connsiteY0" fmla="*/ 0 h 10000"/>
              <a:gd name="connsiteX1" fmla="*/ 7473 w 10000"/>
              <a:gd name="connsiteY1" fmla="*/ 3741 h 10000"/>
              <a:gd name="connsiteX2" fmla="*/ 4463 w 10000"/>
              <a:gd name="connsiteY2" fmla="*/ 7921 h 10000"/>
              <a:gd name="connsiteX3" fmla="*/ 2528 w 10000"/>
              <a:gd name="connsiteY3" fmla="*/ 9703 h 10000"/>
              <a:gd name="connsiteX4" fmla="*/ 13 w 10000"/>
              <a:gd name="connsiteY4" fmla="*/ 9704 h 10000"/>
              <a:gd name="connsiteX5" fmla="*/ 0 w 10000"/>
              <a:gd name="connsiteY5" fmla="*/ 0 h 10000"/>
              <a:gd name="connsiteX6" fmla="*/ 8834 w 10000"/>
              <a:gd name="connsiteY6" fmla="*/ 0 h 10000"/>
              <a:gd name="connsiteX0" fmla="*/ 8834 w 10000"/>
              <a:gd name="connsiteY0" fmla="*/ 0 h 10000"/>
              <a:gd name="connsiteX1" fmla="*/ 7473 w 10000"/>
              <a:gd name="connsiteY1" fmla="*/ 3741 h 10000"/>
              <a:gd name="connsiteX2" fmla="*/ 4463 w 10000"/>
              <a:gd name="connsiteY2" fmla="*/ 7921 h 10000"/>
              <a:gd name="connsiteX3" fmla="*/ 2528 w 10000"/>
              <a:gd name="connsiteY3" fmla="*/ 9703 h 10000"/>
              <a:gd name="connsiteX4" fmla="*/ 13 w 10000"/>
              <a:gd name="connsiteY4" fmla="*/ 9704 h 10000"/>
              <a:gd name="connsiteX5" fmla="*/ 0 w 10000"/>
              <a:gd name="connsiteY5" fmla="*/ 0 h 10000"/>
              <a:gd name="connsiteX6" fmla="*/ 8834 w 10000"/>
              <a:gd name="connsiteY6" fmla="*/ 0 h 10000"/>
              <a:gd name="connsiteX0" fmla="*/ 8834 w 10000"/>
              <a:gd name="connsiteY0" fmla="*/ 0 h 10000"/>
              <a:gd name="connsiteX1" fmla="*/ 7473 w 10000"/>
              <a:gd name="connsiteY1" fmla="*/ 3741 h 10000"/>
              <a:gd name="connsiteX2" fmla="*/ 4463 w 10000"/>
              <a:gd name="connsiteY2" fmla="*/ 7921 h 10000"/>
              <a:gd name="connsiteX3" fmla="*/ 2528 w 10000"/>
              <a:gd name="connsiteY3" fmla="*/ 9703 h 10000"/>
              <a:gd name="connsiteX4" fmla="*/ 13 w 10000"/>
              <a:gd name="connsiteY4" fmla="*/ 9704 h 10000"/>
              <a:gd name="connsiteX5" fmla="*/ 0 w 10000"/>
              <a:gd name="connsiteY5" fmla="*/ 0 h 10000"/>
              <a:gd name="connsiteX6" fmla="*/ 8834 w 10000"/>
              <a:gd name="connsiteY6" fmla="*/ 0 h 10000"/>
              <a:gd name="connsiteX0" fmla="*/ 8834 w 10000"/>
              <a:gd name="connsiteY0" fmla="*/ 0 h 10000"/>
              <a:gd name="connsiteX1" fmla="*/ 7473 w 10000"/>
              <a:gd name="connsiteY1" fmla="*/ 3741 h 10000"/>
              <a:gd name="connsiteX2" fmla="*/ 4463 w 10000"/>
              <a:gd name="connsiteY2" fmla="*/ 7921 h 10000"/>
              <a:gd name="connsiteX3" fmla="*/ 2528 w 10000"/>
              <a:gd name="connsiteY3" fmla="*/ 9703 h 10000"/>
              <a:gd name="connsiteX4" fmla="*/ 13 w 10000"/>
              <a:gd name="connsiteY4" fmla="*/ 9704 h 10000"/>
              <a:gd name="connsiteX5" fmla="*/ 0 w 10000"/>
              <a:gd name="connsiteY5" fmla="*/ 0 h 10000"/>
              <a:gd name="connsiteX6" fmla="*/ 8834 w 10000"/>
              <a:gd name="connsiteY6" fmla="*/ 0 h 10000"/>
              <a:gd name="connsiteX0" fmla="*/ 8834 w 10000"/>
              <a:gd name="connsiteY0" fmla="*/ 0 h 10000"/>
              <a:gd name="connsiteX1" fmla="*/ 7473 w 10000"/>
              <a:gd name="connsiteY1" fmla="*/ 3741 h 10000"/>
              <a:gd name="connsiteX2" fmla="*/ 4463 w 10000"/>
              <a:gd name="connsiteY2" fmla="*/ 7921 h 10000"/>
              <a:gd name="connsiteX3" fmla="*/ 2528 w 10000"/>
              <a:gd name="connsiteY3" fmla="*/ 9703 h 10000"/>
              <a:gd name="connsiteX4" fmla="*/ 13 w 10000"/>
              <a:gd name="connsiteY4" fmla="*/ 9704 h 10000"/>
              <a:gd name="connsiteX5" fmla="*/ 0 w 10000"/>
              <a:gd name="connsiteY5" fmla="*/ 0 h 10000"/>
              <a:gd name="connsiteX6" fmla="*/ 8834 w 10000"/>
              <a:gd name="connsiteY6" fmla="*/ 0 h 10000"/>
              <a:gd name="connsiteX0" fmla="*/ 8834 w 10000"/>
              <a:gd name="connsiteY0" fmla="*/ 0 h 10000"/>
              <a:gd name="connsiteX1" fmla="*/ 7473 w 10000"/>
              <a:gd name="connsiteY1" fmla="*/ 3741 h 10000"/>
              <a:gd name="connsiteX2" fmla="*/ 4463 w 10000"/>
              <a:gd name="connsiteY2" fmla="*/ 7921 h 10000"/>
              <a:gd name="connsiteX3" fmla="*/ 2528 w 10000"/>
              <a:gd name="connsiteY3" fmla="*/ 9703 h 10000"/>
              <a:gd name="connsiteX4" fmla="*/ 13 w 10000"/>
              <a:gd name="connsiteY4" fmla="*/ 9704 h 10000"/>
              <a:gd name="connsiteX5" fmla="*/ 0 w 10000"/>
              <a:gd name="connsiteY5" fmla="*/ 0 h 10000"/>
              <a:gd name="connsiteX6" fmla="*/ 8834 w 10000"/>
              <a:gd name="connsiteY6" fmla="*/ 0 h 10000"/>
              <a:gd name="connsiteX0" fmla="*/ 8834 w 10000"/>
              <a:gd name="connsiteY0" fmla="*/ 0 h 10000"/>
              <a:gd name="connsiteX1" fmla="*/ 7473 w 10000"/>
              <a:gd name="connsiteY1" fmla="*/ 3741 h 10000"/>
              <a:gd name="connsiteX2" fmla="*/ 4463 w 10000"/>
              <a:gd name="connsiteY2" fmla="*/ 7921 h 10000"/>
              <a:gd name="connsiteX3" fmla="*/ 2528 w 10000"/>
              <a:gd name="connsiteY3" fmla="*/ 9703 h 10000"/>
              <a:gd name="connsiteX4" fmla="*/ 13 w 10000"/>
              <a:gd name="connsiteY4" fmla="*/ 9704 h 10000"/>
              <a:gd name="connsiteX5" fmla="*/ 0 w 10000"/>
              <a:gd name="connsiteY5" fmla="*/ 0 h 10000"/>
              <a:gd name="connsiteX6" fmla="*/ 8834 w 10000"/>
              <a:gd name="connsiteY6" fmla="*/ 0 h 10000"/>
              <a:gd name="connsiteX0" fmla="*/ 8834 w 10000"/>
              <a:gd name="connsiteY0" fmla="*/ 0 h 9719"/>
              <a:gd name="connsiteX1" fmla="*/ 7473 w 10000"/>
              <a:gd name="connsiteY1" fmla="*/ 3741 h 9719"/>
              <a:gd name="connsiteX2" fmla="*/ 4463 w 10000"/>
              <a:gd name="connsiteY2" fmla="*/ 7921 h 9719"/>
              <a:gd name="connsiteX3" fmla="*/ 2528 w 10000"/>
              <a:gd name="connsiteY3" fmla="*/ 9703 h 9719"/>
              <a:gd name="connsiteX4" fmla="*/ 13 w 10000"/>
              <a:gd name="connsiteY4" fmla="*/ 9704 h 9719"/>
              <a:gd name="connsiteX5" fmla="*/ 0 w 10000"/>
              <a:gd name="connsiteY5" fmla="*/ 0 h 9719"/>
              <a:gd name="connsiteX6" fmla="*/ 8834 w 10000"/>
              <a:gd name="connsiteY6" fmla="*/ 0 h 9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00" h="9719">
                <a:moveTo>
                  <a:pt x="8834" y="0"/>
                </a:moveTo>
                <a:cubicBezTo>
                  <a:pt x="8834" y="0"/>
                  <a:pt x="10000" y="2468"/>
                  <a:pt x="7473" y="3741"/>
                </a:cubicBezTo>
                <a:cubicBezTo>
                  <a:pt x="4951" y="5021"/>
                  <a:pt x="3423" y="5700"/>
                  <a:pt x="4463" y="7921"/>
                </a:cubicBezTo>
                <a:cubicBezTo>
                  <a:pt x="3639" y="8914"/>
                  <a:pt x="3509" y="8866"/>
                  <a:pt x="2528" y="9703"/>
                </a:cubicBezTo>
                <a:cubicBezTo>
                  <a:pt x="27" y="9717"/>
                  <a:pt x="1518" y="9719"/>
                  <a:pt x="13" y="9704"/>
                </a:cubicBezTo>
                <a:cubicBezTo>
                  <a:pt x="9" y="6470"/>
                  <a:pt x="4" y="3234"/>
                  <a:pt x="0" y="0"/>
                </a:cubicBezTo>
                <a:lnTo>
                  <a:pt x="8834" y="0"/>
                </a:lnTo>
                <a:close/>
              </a:path>
            </a:pathLst>
          </a:custGeom>
          <a:solidFill>
            <a:schemeClr val="accent2"/>
          </a:solidFill>
          <a:ln>
            <a:noFill/>
          </a:ln>
        </p:spPr>
        <p:txBody>
          <a:bodyPr vert="horz" wrap="square" lIns="91424" tIns="45712" rIns="91424" bIns="45712" numCol="1" anchor="t" anchorCtr="0" compatLnSpc="1">
            <a:prstTxWarp prst="textNoShape">
              <a:avLst/>
            </a:prstTxWarp>
          </a:bodyPr>
          <a:lstStyle/>
          <a:p>
            <a:endParaRPr lang="en-US" sz="1800" dirty="0"/>
          </a:p>
        </p:txBody>
      </p:sp>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305991" y="1052737"/>
            <a:ext cx="4841973" cy="1698343"/>
          </a:xfrm>
          <a:prstGeom prst="rect">
            <a:avLst/>
          </a:prstGeom>
        </p:spPr>
        <p:txBody>
          <a:bodyPr anchor="t">
            <a:noAutofit/>
          </a:bodyPr>
          <a:lstStyle>
            <a:lvl1pPr marL="0" indent="0">
              <a:lnSpc>
                <a:spcPts val="2999"/>
              </a:lnSpc>
              <a:buNone/>
              <a:defRPr sz="2599">
                <a:solidFill>
                  <a:schemeClr val="bg1"/>
                </a:solidFill>
              </a:defRPr>
            </a:lvl1pPr>
            <a:lvl2pPr marL="457109" indent="0">
              <a:buNone/>
              <a:defRPr sz="5999">
                <a:solidFill>
                  <a:schemeClr val="bg1"/>
                </a:solidFill>
              </a:defRPr>
            </a:lvl2pPr>
          </a:lstStyle>
          <a:p>
            <a:pPr lvl="0"/>
            <a:r>
              <a:rPr lang="en-US" dirty="0"/>
              <a:t>Click to insert section title</a:t>
            </a:r>
            <a:endParaRPr lang="pt-PT" dirty="0"/>
          </a:p>
        </p:txBody>
      </p:sp>
    </p:spTree>
    <p:extLst>
      <p:ext uri="{BB962C8B-B14F-4D97-AF65-F5344CB8AC3E}">
        <p14:creationId xmlns:p14="http://schemas.microsoft.com/office/powerpoint/2010/main" val="47839176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Divider 2">
    <p:spTree>
      <p:nvGrpSpPr>
        <p:cNvPr id="1" name=""/>
        <p:cNvGrpSpPr/>
        <p:nvPr/>
      </p:nvGrpSpPr>
      <p:grpSpPr>
        <a:xfrm>
          <a:off x="0" y="0"/>
          <a:ext cx="0" cy="0"/>
          <a:chOff x="0" y="0"/>
          <a:chExt cx="0" cy="0"/>
        </a:xfrm>
      </p:grpSpPr>
      <p:sp>
        <p:nvSpPr>
          <p:cNvPr id="5" name="Freeform 16"/>
          <p:cNvSpPr>
            <a:spLocks/>
          </p:cNvSpPr>
          <p:nvPr userDrawn="1"/>
        </p:nvSpPr>
        <p:spPr bwMode="auto">
          <a:xfrm>
            <a:off x="2692672" y="838200"/>
            <a:ext cx="6451328" cy="6019801"/>
          </a:xfrm>
          <a:custGeom>
            <a:avLst/>
            <a:gdLst/>
            <a:ahLst/>
            <a:cxnLst>
              <a:cxn ang="0">
                <a:pos x="4062" y="1126"/>
              </a:cxn>
              <a:cxn ang="0">
                <a:pos x="4062" y="128"/>
              </a:cxn>
              <a:cxn ang="0">
                <a:pos x="4056" y="110"/>
              </a:cxn>
              <a:cxn ang="0">
                <a:pos x="3996" y="88"/>
              </a:cxn>
              <a:cxn ang="0">
                <a:pos x="3838" y="44"/>
              </a:cxn>
              <a:cxn ang="0">
                <a:pos x="3678" y="16"/>
              </a:cxn>
              <a:cxn ang="0">
                <a:pos x="3518" y="2"/>
              </a:cxn>
              <a:cxn ang="0">
                <a:pos x="3356" y="2"/>
              </a:cxn>
              <a:cxn ang="0">
                <a:pos x="3190" y="16"/>
              </a:cxn>
              <a:cxn ang="0">
                <a:pos x="3006" y="50"/>
              </a:cxn>
              <a:cxn ang="0">
                <a:pos x="2738" y="128"/>
              </a:cxn>
              <a:cxn ang="0">
                <a:pos x="2478" y="234"/>
              </a:cxn>
              <a:cxn ang="0">
                <a:pos x="2316" y="316"/>
              </a:cxn>
              <a:cxn ang="0">
                <a:pos x="2080" y="452"/>
              </a:cxn>
              <a:cxn ang="0">
                <a:pos x="1852" y="602"/>
              </a:cxn>
              <a:cxn ang="0">
                <a:pos x="1668" y="732"/>
              </a:cxn>
              <a:cxn ang="0">
                <a:pos x="1308" y="1006"/>
              </a:cxn>
              <a:cxn ang="0">
                <a:pos x="966" y="1278"/>
              </a:cxn>
              <a:cxn ang="0">
                <a:pos x="630" y="1536"/>
              </a:cxn>
              <a:cxn ang="0">
                <a:pos x="458" y="1658"/>
              </a:cxn>
              <a:cxn ang="0">
                <a:pos x="252" y="1786"/>
              </a:cxn>
              <a:cxn ang="0">
                <a:pos x="90" y="1868"/>
              </a:cxn>
              <a:cxn ang="0">
                <a:pos x="20" y="1898"/>
              </a:cxn>
              <a:cxn ang="0">
                <a:pos x="2" y="1906"/>
              </a:cxn>
              <a:cxn ang="0">
                <a:pos x="2" y="1918"/>
              </a:cxn>
              <a:cxn ang="0">
                <a:pos x="8" y="1932"/>
              </a:cxn>
              <a:cxn ang="0">
                <a:pos x="30" y="2248"/>
              </a:cxn>
              <a:cxn ang="0">
                <a:pos x="54" y="2446"/>
              </a:cxn>
              <a:cxn ang="0">
                <a:pos x="98" y="2724"/>
              </a:cxn>
              <a:cxn ang="0">
                <a:pos x="158" y="3002"/>
              </a:cxn>
              <a:cxn ang="0">
                <a:pos x="204" y="3180"/>
              </a:cxn>
              <a:cxn ang="0">
                <a:pos x="288" y="3440"/>
              </a:cxn>
              <a:cxn ang="0">
                <a:pos x="386" y="3694"/>
              </a:cxn>
              <a:cxn ang="0">
                <a:pos x="426" y="3784"/>
              </a:cxn>
              <a:cxn ang="0">
                <a:pos x="446" y="3794"/>
              </a:cxn>
              <a:cxn ang="0">
                <a:pos x="1836" y="3794"/>
              </a:cxn>
              <a:cxn ang="0">
                <a:pos x="1858" y="3786"/>
              </a:cxn>
              <a:cxn ang="0">
                <a:pos x="1956" y="3724"/>
              </a:cxn>
              <a:cxn ang="0">
                <a:pos x="2128" y="3640"/>
              </a:cxn>
              <a:cxn ang="0">
                <a:pos x="2278" y="3582"/>
              </a:cxn>
              <a:cxn ang="0">
                <a:pos x="2506" y="3514"/>
              </a:cxn>
              <a:cxn ang="0">
                <a:pos x="2740" y="3460"/>
              </a:cxn>
              <a:cxn ang="0">
                <a:pos x="3280" y="3344"/>
              </a:cxn>
              <a:cxn ang="0">
                <a:pos x="3608" y="3262"/>
              </a:cxn>
              <a:cxn ang="0">
                <a:pos x="3828" y="3196"/>
              </a:cxn>
              <a:cxn ang="0">
                <a:pos x="4044" y="3116"/>
              </a:cxn>
              <a:cxn ang="0">
                <a:pos x="4058" y="3106"/>
              </a:cxn>
              <a:cxn ang="0">
                <a:pos x="4062" y="3088"/>
              </a:cxn>
            </a:cxnLst>
            <a:rect l="0" t="0" r="r" b="b"/>
            <a:pathLst>
              <a:path w="4062" h="3794">
                <a:moveTo>
                  <a:pt x="4062" y="1608"/>
                </a:moveTo>
                <a:lnTo>
                  <a:pt x="4062" y="1608"/>
                </a:lnTo>
                <a:lnTo>
                  <a:pt x="4062" y="1126"/>
                </a:lnTo>
                <a:lnTo>
                  <a:pt x="4062" y="1126"/>
                </a:lnTo>
                <a:lnTo>
                  <a:pt x="4062" y="128"/>
                </a:lnTo>
                <a:lnTo>
                  <a:pt x="4062" y="128"/>
                </a:lnTo>
                <a:lnTo>
                  <a:pt x="4062" y="122"/>
                </a:lnTo>
                <a:lnTo>
                  <a:pt x="4060" y="114"/>
                </a:lnTo>
                <a:lnTo>
                  <a:pt x="4056" y="110"/>
                </a:lnTo>
                <a:lnTo>
                  <a:pt x="4050" y="106"/>
                </a:lnTo>
                <a:lnTo>
                  <a:pt x="4050" y="106"/>
                </a:lnTo>
                <a:lnTo>
                  <a:pt x="3996" y="88"/>
                </a:lnTo>
                <a:lnTo>
                  <a:pt x="3944" y="72"/>
                </a:lnTo>
                <a:lnTo>
                  <a:pt x="3892" y="58"/>
                </a:lnTo>
                <a:lnTo>
                  <a:pt x="3838" y="44"/>
                </a:lnTo>
                <a:lnTo>
                  <a:pt x="3786" y="34"/>
                </a:lnTo>
                <a:lnTo>
                  <a:pt x="3732" y="24"/>
                </a:lnTo>
                <a:lnTo>
                  <a:pt x="3678" y="16"/>
                </a:lnTo>
                <a:lnTo>
                  <a:pt x="3626" y="10"/>
                </a:lnTo>
                <a:lnTo>
                  <a:pt x="3572" y="4"/>
                </a:lnTo>
                <a:lnTo>
                  <a:pt x="3518" y="2"/>
                </a:lnTo>
                <a:lnTo>
                  <a:pt x="3464" y="0"/>
                </a:lnTo>
                <a:lnTo>
                  <a:pt x="3410" y="0"/>
                </a:lnTo>
                <a:lnTo>
                  <a:pt x="3356" y="2"/>
                </a:lnTo>
                <a:lnTo>
                  <a:pt x="3300" y="4"/>
                </a:lnTo>
                <a:lnTo>
                  <a:pt x="3246" y="10"/>
                </a:lnTo>
                <a:lnTo>
                  <a:pt x="3190" y="16"/>
                </a:lnTo>
                <a:lnTo>
                  <a:pt x="3190" y="16"/>
                </a:lnTo>
                <a:lnTo>
                  <a:pt x="3098" y="30"/>
                </a:lnTo>
                <a:lnTo>
                  <a:pt x="3006" y="50"/>
                </a:lnTo>
                <a:lnTo>
                  <a:pt x="2916" y="72"/>
                </a:lnTo>
                <a:lnTo>
                  <a:pt x="2826" y="98"/>
                </a:lnTo>
                <a:lnTo>
                  <a:pt x="2738" y="128"/>
                </a:lnTo>
                <a:lnTo>
                  <a:pt x="2650" y="160"/>
                </a:lnTo>
                <a:lnTo>
                  <a:pt x="2564" y="196"/>
                </a:lnTo>
                <a:lnTo>
                  <a:pt x="2478" y="234"/>
                </a:lnTo>
                <a:lnTo>
                  <a:pt x="2478" y="234"/>
                </a:lnTo>
                <a:lnTo>
                  <a:pt x="2396" y="274"/>
                </a:lnTo>
                <a:lnTo>
                  <a:pt x="2316" y="316"/>
                </a:lnTo>
                <a:lnTo>
                  <a:pt x="2236" y="360"/>
                </a:lnTo>
                <a:lnTo>
                  <a:pt x="2158" y="406"/>
                </a:lnTo>
                <a:lnTo>
                  <a:pt x="2080" y="452"/>
                </a:lnTo>
                <a:lnTo>
                  <a:pt x="2002" y="500"/>
                </a:lnTo>
                <a:lnTo>
                  <a:pt x="1926" y="550"/>
                </a:lnTo>
                <a:lnTo>
                  <a:pt x="1852" y="602"/>
                </a:lnTo>
                <a:lnTo>
                  <a:pt x="1852" y="602"/>
                </a:lnTo>
                <a:lnTo>
                  <a:pt x="1758" y="666"/>
                </a:lnTo>
                <a:lnTo>
                  <a:pt x="1668" y="732"/>
                </a:lnTo>
                <a:lnTo>
                  <a:pt x="1576" y="798"/>
                </a:lnTo>
                <a:lnTo>
                  <a:pt x="1488" y="866"/>
                </a:lnTo>
                <a:lnTo>
                  <a:pt x="1308" y="1006"/>
                </a:lnTo>
                <a:lnTo>
                  <a:pt x="1132" y="1146"/>
                </a:lnTo>
                <a:lnTo>
                  <a:pt x="1132" y="1146"/>
                </a:lnTo>
                <a:lnTo>
                  <a:pt x="966" y="1278"/>
                </a:lnTo>
                <a:lnTo>
                  <a:pt x="800" y="1408"/>
                </a:lnTo>
                <a:lnTo>
                  <a:pt x="716" y="1472"/>
                </a:lnTo>
                <a:lnTo>
                  <a:pt x="630" y="1536"/>
                </a:lnTo>
                <a:lnTo>
                  <a:pt x="544" y="1598"/>
                </a:lnTo>
                <a:lnTo>
                  <a:pt x="458" y="1658"/>
                </a:lnTo>
                <a:lnTo>
                  <a:pt x="458" y="1658"/>
                </a:lnTo>
                <a:lnTo>
                  <a:pt x="356" y="1724"/>
                </a:lnTo>
                <a:lnTo>
                  <a:pt x="304" y="1756"/>
                </a:lnTo>
                <a:lnTo>
                  <a:pt x="252" y="1786"/>
                </a:lnTo>
                <a:lnTo>
                  <a:pt x="200" y="1816"/>
                </a:lnTo>
                <a:lnTo>
                  <a:pt x="146" y="1842"/>
                </a:lnTo>
                <a:lnTo>
                  <a:pt x="90" y="1868"/>
                </a:lnTo>
                <a:lnTo>
                  <a:pt x="34" y="1892"/>
                </a:lnTo>
                <a:lnTo>
                  <a:pt x="34" y="1892"/>
                </a:lnTo>
                <a:lnTo>
                  <a:pt x="20" y="1898"/>
                </a:lnTo>
                <a:lnTo>
                  <a:pt x="6" y="1904"/>
                </a:lnTo>
                <a:lnTo>
                  <a:pt x="6" y="1904"/>
                </a:lnTo>
                <a:lnTo>
                  <a:pt x="2" y="1906"/>
                </a:lnTo>
                <a:lnTo>
                  <a:pt x="0" y="1910"/>
                </a:lnTo>
                <a:lnTo>
                  <a:pt x="0" y="1914"/>
                </a:lnTo>
                <a:lnTo>
                  <a:pt x="2" y="1918"/>
                </a:lnTo>
                <a:lnTo>
                  <a:pt x="6" y="1924"/>
                </a:lnTo>
                <a:lnTo>
                  <a:pt x="8" y="1932"/>
                </a:lnTo>
                <a:lnTo>
                  <a:pt x="8" y="1932"/>
                </a:lnTo>
                <a:lnTo>
                  <a:pt x="12" y="2038"/>
                </a:lnTo>
                <a:lnTo>
                  <a:pt x="20" y="2142"/>
                </a:lnTo>
                <a:lnTo>
                  <a:pt x="30" y="2248"/>
                </a:lnTo>
                <a:lnTo>
                  <a:pt x="42" y="2352"/>
                </a:lnTo>
                <a:lnTo>
                  <a:pt x="42" y="2352"/>
                </a:lnTo>
                <a:lnTo>
                  <a:pt x="54" y="2446"/>
                </a:lnTo>
                <a:lnTo>
                  <a:pt x="66" y="2540"/>
                </a:lnTo>
                <a:lnTo>
                  <a:pt x="82" y="2632"/>
                </a:lnTo>
                <a:lnTo>
                  <a:pt x="98" y="2724"/>
                </a:lnTo>
                <a:lnTo>
                  <a:pt x="116" y="2818"/>
                </a:lnTo>
                <a:lnTo>
                  <a:pt x="136" y="2910"/>
                </a:lnTo>
                <a:lnTo>
                  <a:pt x="158" y="3002"/>
                </a:lnTo>
                <a:lnTo>
                  <a:pt x="180" y="3092"/>
                </a:lnTo>
                <a:lnTo>
                  <a:pt x="180" y="3092"/>
                </a:lnTo>
                <a:lnTo>
                  <a:pt x="204" y="3180"/>
                </a:lnTo>
                <a:lnTo>
                  <a:pt x="230" y="3268"/>
                </a:lnTo>
                <a:lnTo>
                  <a:pt x="258" y="3354"/>
                </a:lnTo>
                <a:lnTo>
                  <a:pt x="288" y="3440"/>
                </a:lnTo>
                <a:lnTo>
                  <a:pt x="318" y="3524"/>
                </a:lnTo>
                <a:lnTo>
                  <a:pt x="352" y="3610"/>
                </a:lnTo>
                <a:lnTo>
                  <a:pt x="386" y="3694"/>
                </a:lnTo>
                <a:lnTo>
                  <a:pt x="422" y="3776"/>
                </a:lnTo>
                <a:lnTo>
                  <a:pt x="422" y="3776"/>
                </a:lnTo>
                <a:lnTo>
                  <a:pt x="426" y="3784"/>
                </a:lnTo>
                <a:lnTo>
                  <a:pt x="430" y="3790"/>
                </a:lnTo>
                <a:lnTo>
                  <a:pt x="436" y="3792"/>
                </a:lnTo>
                <a:lnTo>
                  <a:pt x="446" y="3794"/>
                </a:lnTo>
                <a:lnTo>
                  <a:pt x="446" y="3794"/>
                </a:lnTo>
                <a:lnTo>
                  <a:pt x="1836" y="3794"/>
                </a:lnTo>
                <a:lnTo>
                  <a:pt x="1836" y="3794"/>
                </a:lnTo>
                <a:lnTo>
                  <a:pt x="1848" y="3792"/>
                </a:lnTo>
                <a:lnTo>
                  <a:pt x="1858" y="3786"/>
                </a:lnTo>
                <a:lnTo>
                  <a:pt x="1858" y="3786"/>
                </a:lnTo>
                <a:lnTo>
                  <a:pt x="1890" y="3764"/>
                </a:lnTo>
                <a:lnTo>
                  <a:pt x="1922" y="3744"/>
                </a:lnTo>
                <a:lnTo>
                  <a:pt x="1956" y="3724"/>
                </a:lnTo>
                <a:lnTo>
                  <a:pt x="1988" y="3704"/>
                </a:lnTo>
                <a:lnTo>
                  <a:pt x="2058" y="3670"/>
                </a:lnTo>
                <a:lnTo>
                  <a:pt x="2128" y="3640"/>
                </a:lnTo>
                <a:lnTo>
                  <a:pt x="2128" y="3640"/>
                </a:lnTo>
                <a:lnTo>
                  <a:pt x="2202" y="3610"/>
                </a:lnTo>
                <a:lnTo>
                  <a:pt x="2278" y="3582"/>
                </a:lnTo>
                <a:lnTo>
                  <a:pt x="2354" y="3558"/>
                </a:lnTo>
                <a:lnTo>
                  <a:pt x="2430" y="3536"/>
                </a:lnTo>
                <a:lnTo>
                  <a:pt x="2506" y="3514"/>
                </a:lnTo>
                <a:lnTo>
                  <a:pt x="2584" y="3496"/>
                </a:lnTo>
                <a:lnTo>
                  <a:pt x="2740" y="3460"/>
                </a:lnTo>
                <a:lnTo>
                  <a:pt x="2740" y="3460"/>
                </a:lnTo>
                <a:lnTo>
                  <a:pt x="2920" y="3420"/>
                </a:lnTo>
                <a:lnTo>
                  <a:pt x="3100" y="3382"/>
                </a:lnTo>
                <a:lnTo>
                  <a:pt x="3280" y="3344"/>
                </a:lnTo>
                <a:lnTo>
                  <a:pt x="3460" y="3302"/>
                </a:lnTo>
                <a:lnTo>
                  <a:pt x="3460" y="3302"/>
                </a:lnTo>
                <a:lnTo>
                  <a:pt x="3608" y="3262"/>
                </a:lnTo>
                <a:lnTo>
                  <a:pt x="3682" y="3242"/>
                </a:lnTo>
                <a:lnTo>
                  <a:pt x="3756" y="3220"/>
                </a:lnTo>
                <a:lnTo>
                  <a:pt x="3828" y="3196"/>
                </a:lnTo>
                <a:lnTo>
                  <a:pt x="3900" y="3172"/>
                </a:lnTo>
                <a:lnTo>
                  <a:pt x="3972" y="3144"/>
                </a:lnTo>
                <a:lnTo>
                  <a:pt x="4044" y="3116"/>
                </a:lnTo>
                <a:lnTo>
                  <a:pt x="4044" y="3116"/>
                </a:lnTo>
                <a:lnTo>
                  <a:pt x="4052" y="3112"/>
                </a:lnTo>
                <a:lnTo>
                  <a:pt x="4058" y="3106"/>
                </a:lnTo>
                <a:lnTo>
                  <a:pt x="4062" y="3098"/>
                </a:lnTo>
                <a:lnTo>
                  <a:pt x="4062" y="3088"/>
                </a:lnTo>
                <a:lnTo>
                  <a:pt x="4062" y="3088"/>
                </a:lnTo>
                <a:lnTo>
                  <a:pt x="4062" y="1608"/>
                </a:lnTo>
                <a:lnTo>
                  <a:pt x="4062" y="1608"/>
                </a:lnTo>
                <a:close/>
              </a:path>
            </a:pathLst>
          </a:custGeom>
          <a:solidFill>
            <a:srgbClr val="FE304C"/>
          </a:solidFill>
          <a:ln w="9525">
            <a:noFill/>
            <a:round/>
            <a:headEnd/>
            <a:tailEnd/>
          </a:ln>
        </p:spPr>
        <p:txBody>
          <a:bodyPr vert="horz" wrap="square" lIns="91424" tIns="45712" rIns="91424" bIns="45712" numCol="1" anchor="t" anchorCtr="0" compatLnSpc="1">
            <a:prstTxWarp prst="textNoShape">
              <a:avLst/>
            </a:prstTxWarp>
          </a:bodyPr>
          <a:lstStyle/>
          <a:p>
            <a:endParaRPr lang="en-GB" sz="1800" dirty="0"/>
          </a:p>
        </p:txBody>
      </p:sp>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3636059" y="4005065"/>
            <a:ext cx="4841973" cy="1698343"/>
          </a:xfrm>
          <a:prstGeom prst="rect">
            <a:avLst/>
          </a:prstGeom>
        </p:spPr>
        <p:txBody>
          <a:bodyPr anchor="t">
            <a:noAutofit/>
          </a:bodyPr>
          <a:lstStyle>
            <a:lvl1pPr marL="0" indent="0">
              <a:lnSpc>
                <a:spcPts val="2999"/>
              </a:lnSpc>
              <a:buNone/>
              <a:defRPr sz="2599">
                <a:solidFill>
                  <a:schemeClr val="bg1"/>
                </a:solidFill>
              </a:defRPr>
            </a:lvl1pPr>
            <a:lvl2pPr marL="457109" indent="0">
              <a:buNone/>
              <a:defRPr sz="5999">
                <a:solidFill>
                  <a:schemeClr val="bg1"/>
                </a:solidFill>
              </a:defRPr>
            </a:lvl2pPr>
          </a:lstStyle>
          <a:p>
            <a:pPr lvl="0"/>
            <a:r>
              <a:rPr lang="en-US" dirty="0"/>
              <a:t>Click to insert section title</a:t>
            </a:r>
            <a:endParaRPr lang="pt-PT" dirty="0"/>
          </a:p>
        </p:txBody>
      </p:sp>
    </p:spTree>
    <p:extLst>
      <p:ext uri="{BB962C8B-B14F-4D97-AF65-F5344CB8AC3E}">
        <p14:creationId xmlns:p14="http://schemas.microsoft.com/office/powerpoint/2010/main" val="48441947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Cover 2">
    <p:spTree>
      <p:nvGrpSpPr>
        <p:cNvPr id="1" name=""/>
        <p:cNvGrpSpPr/>
        <p:nvPr/>
      </p:nvGrpSpPr>
      <p:grpSpPr>
        <a:xfrm>
          <a:off x="0" y="0"/>
          <a:ext cx="0" cy="0"/>
          <a:chOff x="0" y="0"/>
          <a:chExt cx="0" cy="0"/>
        </a:xfrm>
      </p:grpSpPr>
      <p:sp>
        <p:nvSpPr>
          <p:cNvPr id="4" name="Rectangle 3"/>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3" name="Freeform 7"/>
          <p:cNvSpPr>
            <a:spLocks/>
          </p:cNvSpPr>
          <p:nvPr/>
        </p:nvSpPr>
        <p:spPr bwMode="auto">
          <a:xfrm>
            <a:off x="4643994" y="0"/>
            <a:ext cx="4507581" cy="5805114"/>
          </a:xfrm>
          <a:custGeom>
            <a:avLst/>
            <a:gdLst>
              <a:gd name="connsiteX0" fmla="*/ 275 w 10000"/>
              <a:gd name="connsiteY0" fmla="*/ 0 h 10000"/>
              <a:gd name="connsiteX1" fmla="*/ 275 w 10000"/>
              <a:gd name="connsiteY1" fmla="*/ 0 h 10000"/>
              <a:gd name="connsiteX2" fmla="*/ 10000 w 10000"/>
              <a:gd name="connsiteY2" fmla="*/ 0 h 10000"/>
              <a:gd name="connsiteX3" fmla="*/ 10000 w 10000"/>
              <a:gd name="connsiteY3" fmla="*/ 0 h 10000"/>
              <a:gd name="connsiteX4" fmla="*/ 10000 w 10000"/>
              <a:gd name="connsiteY4" fmla="*/ 74 h 10000"/>
              <a:gd name="connsiteX5" fmla="*/ 10000 w 10000"/>
              <a:gd name="connsiteY5" fmla="*/ 74 h 10000"/>
              <a:gd name="connsiteX6" fmla="*/ 10000 w 10000"/>
              <a:gd name="connsiteY6" fmla="*/ 9893 h 10000"/>
              <a:gd name="connsiteX7" fmla="*/ 10000 w 10000"/>
              <a:gd name="connsiteY7" fmla="*/ 9893 h 10000"/>
              <a:gd name="connsiteX8" fmla="*/ 10000 w 10000"/>
              <a:gd name="connsiteY8" fmla="*/ 9940 h 10000"/>
              <a:gd name="connsiteX9" fmla="*/ 10000 w 10000"/>
              <a:gd name="connsiteY9" fmla="*/ 9940 h 10000"/>
              <a:gd name="connsiteX10" fmla="*/ 10000 w 10000"/>
              <a:gd name="connsiteY10" fmla="*/ 9958 h 10000"/>
              <a:gd name="connsiteX11" fmla="*/ 9991 w 10000"/>
              <a:gd name="connsiteY11" fmla="*/ 9972 h 10000"/>
              <a:gd name="connsiteX12" fmla="*/ 9982 w 10000"/>
              <a:gd name="connsiteY12" fmla="*/ 9981 h 10000"/>
              <a:gd name="connsiteX13" fmla="*/ 9959 w 10000"/>
              <a:gd name="connsiteY13" fmla="*/ 9991 h 10000"/>
              <a:gd name="connsiteX14" fmla="*/ 9959 w 10000"/>
              <a:gd name="connsiteY14" fmla="*/ 9991 h 10000"/>
              <a:gd name="connsiteX15" fmla="*/ 9905 w 10000"/>
              <a:gd name="connsiteY15" fmla="*/ 9995 h 10000"/>
              <a:gd name="connsiteX16" fmla="*/ 9847 w 10000"/>
              <a:gd name="connsiteY16" fmla="*/ 10000 h 10000"/>
              <a:gd name="connsiteX17" fmla="*/ 9734 w 10000"/>
              <a:gd name="connsiteY17" fmla="*/ 10000 h 10000"/>
              <a:gd name="connsiteX18" fmla="*/ 9626 w 10000"/>
              <a:gd name="connsiteY18" fmla="*/ 9995 h 10000"/>
              <a:gd name="connsiteX19" fmla="*/ 9514 w 10000"/>
              <a:gd name="connsiteY19" fmla="*/ 9981 h 10000"/>
              <a:gd name="connsiteX20" fmla="*/ 9514 w 10000"/>
              <a:gd name="connsiteY20" fmla="*/ 9981 h 10000"/>
              <a:gd name="connsiteX21" fmla="*/ 9397 w 10000"/>
              <a:gd name="connsiteY21" fmla="*/ 9963 h 10000"/>
              <a:gd name="connsiteX22" fmla="*/ 9284 w 10000"/>
              <a:gd name="connsiteY22" fmla="*/ 9944 h 10000"/>
              <a:gd name="connsiteX23" fmla="*/ 9172 w 10000"/>
              <a:gd name="connsiteY23" fmla="*/ 9917 h 10000"/>
              <a:gd name="connsiteX24" fmla="*/ 9059 w 10000"/>
              <a:gd name="connsiteY24" fmla="*/ 9889 h 10000"/>
              <a:gd name="connsiteX25" fmla="*/ 8951 w 10000"/>
              <a:gd name="connsiteY25" fmla="*/ 9856 h 10000"/>
              <a:gd name="connsiteX26" fmla="*/ 8839 w 10000"/>
              <a:gd name="connsiteY26" fmla="*/ 9819 h 10000"/>
              <a:gd name="connsiteX27" fmla="*/ 8623 w 10000"/>
              <a:gd name="connsiteY27" fmla="*/ 9741 h 10000"/>
              <a:gd name="connsiteX28" fmla="*/ 8623 w 10000"/>
              <a:gd name="connsiteY28" fmla="*/ 9741 h 10000"/>
              <a:gd name="connsiteX29" fmla="*/ 8416 w 10000"/>
              <a:gd name="connsiteY29" fmla="*/ 9657 h 10000"/>
              <a:gd name="connsiteX30" fmla="*/ 8213 w 10000"/>
              <a:gd name="connsiteY30" fmla="*/ 9565 h 10000"/>
              <a:gd name="connsiteX31" fmla="*/ 8015 w 10000"/>
              <a:gd name="connsiteY31" fmla="*/ 9467 h 10000"/>
              <a:gd name="connsiteX32" fmla="*/ 7817 w 10000"/>
              <a:gd name="connsiteY32" fmla="*/ 9361 h 10000"/>
              <a:gd name="connsiteX33" fmla="*/ 7619 w 10000"/>
              <a:gd name="connsiteY33" fmla="*/ 9254 h 10000"/>
              <a:gd name="connsiteX34" fmla="*/ 7430 w 10000"/>
              <a:gd name="connsiteY34" fmla="*/ 9138 h 10000"/>
              <a:gd name="connsiteX35" fmla="*/ 7237 w 10000"/>
              <a:gd name="connsiteY35" fmla="*/ 9023 h 10000"/>
              <a:gd name="connsiteX36" fmla="*/ 7052 w 10000"/>
              <a:gd name="connsiteY36" fmla="*/ 8902 h 10000"/>
              <a:gd name="connsiteX37" fmla="*/ 6805 w 10000"/>
              <a:gd name="connsiteY37" fmla="*/ 8736 h 10000"/>
              <a:gd name="connsiteX38" fmla="*/ 6562 w 10000"/>
              <a:gd name="connsiteY38" fmla="*/ 8564 h 10000"/>
              <a:gd name="connsiteX39" fmla="*/ 6319 w 10000"/>
              <a:gd name="connsiteY39" fmla="*/ 8388 h 10000"/>
              <a:gd name="connsiteX40" fmla="*/ 6085 w 10000"/>
              <a:gd name="connsiteY40" fmla="*/ 8208 h 10000"/>
              <a:gd name="connsiteX41" fmla="*/ 5851 w 10000"/>
              <a:gd name="connsiteY41" fmla="*/ 8022 h 10000"/>
              <a:gd name="connsiteX42" fmla="*/ 5621 w 10000"/>
              <a:gd name="connsiteY42" fmla="*/ 7832 h 10000"/>
              <a:gd name="connsiteX43" fmla="*/ 5392 w 10000"/>
              <a:gd name="connsiteY43" fmla="*/ 7642 h 10000"/>
              <a:gd name="connsiteX44" fmla="*/ 5167 w 10000"/>
              <a:gd name="connsiteY44" fmla="*/ 7443 h 10000"/>
              <a:gd name="connsiteX45" fmla="*/ 5167 w 10000"/>
              <a:gd name="connsiteY45" fmla="*/ 7443 h 10000"/>
              <a:gd name="connsiteX46" fmla="*/ 4905 w 10000"/>
              <a:gd name="connsiteY46" fmla="*/ 7216 h 10000"/>
              <a:gd name="connsiteX47" fmla="*/ 4905 w 10000"/>
              <a:gd name="connsiteY47" fmla="*/ 7216 h 10000"/>
              <a:gd name="connsiteX48" fmla="*/ 4995 w 10000"/>
              <a:gd name="connsiteY48" fmla="*/ 7040 h 10000"/>
              <a:gd name="connsiteX49" fmla="*/ 5077 w 10000"/>
              <a:gd name="connsiteY49" fmla="*/ 6864 h 10000"/>
              <a:gd name="connsiteX50" fmla="*/ 5077 w 10000"/>
              <a:gd name="connsiteY50" fmla="*/ 6864 h 10000"/>
              <a:gd name="connsiteX51" fmla="*/ 5113 w 10000"/>
              <a:gd name="connsiteY51" fmla="*/ 6781 h 10000"/>
              <a:gd name="connsiteX52" fmla="*/ 5144 w 10000"/>
              <a:gd name="connsiteY52" fmla="*/ 6693 h 10000"/>
              <a:gd name="connsiteX53" fmla="*/ 5176 w 10000"/>
              <a:gd name="connsiteY53" fmla="*/ 6605 h 10000"/>
              <a:gd name="connsiteX54" fmla="*/ 5203 w 10000"/>
              <a:gd name="connsiteY54" fmla="*/ 6517 h 10000"/>
              <a:gd name="connsiteX55" fmla="*/ 5225 w 10000"/>
              <a:gd name="connsiteY55" fmla="*/ 6424 h 10000"/>
              <a:gd name="connsiteX56" fmla="*/ 5243 w 10000"/>
              <a:gd name="connsiteY56" fmla="*/ 6336 h 10000"/>
              <a:gd name="connsiteX57" fmla="*/ 5252 w 10000"/>
              <a:gd name="connsiteY57" fmla="*/ 6244 h 10000"/>
              <a:gd name="connsiteX58" fmla="*/ 5261 w 10000"/>
              <a:gd name="connsiteY58" fmla="*/ 6146 h 10000"/>
              <a:gd name="connsiteX59" fmla="*/ 5261 w 10000"/>
              <a:gd name="connsiteY59" fmla="*/ 6146 h 10000"/>
              <a:gd name="connsiteX60" fmla="*/ 5266 w 10000"/>
              <a:gd name="connsiteY60" fmla="*/ 6040 h 10000"/>
              <a:gd name="connsiteX61" fmla="*/ 5257 w 10000"/>
              <a:gd name="connsiteY61" fmla="*/ 5933 h 10000"/>
              <a:gd name="connsiteX62" fmla="*/ 5243 w 10000"/>
              <a:gd name="connsiteY62" fmla="*/ 5831 h 10000"/>
              <a:gd name="connsiteX63" fmla="*/ 5221 w 10000"/>
              <a:gd name="connsiteY63" fmla="*/ 5730 h 10000"/>
              <a:gd name="connsiteX64" fmla="*/ 5189 w 10000"/>
              <a:gd name="connsiteY64" fmla="*/ 5632 h 10000"/>
              <a:gd name="connsiteX65" fmla="*/ 5149 w 10000"/>
              <a:gd name="connsiteY65" fmla="*/ 5535 h 10000"/>
              <a:gd name="connsiteX66" fmla="*/ 5099 w 10000"/>
              <a:gd name="connsiteY66" fmla="*/ 5442 h 10000"/>
              <a:gd name="connsiteX67" fmla="*/ 5045 w 10000"/>
              <a:gd name="connsiteY67" fmla="*/ 5350 h 10000"/>
              <a:gd name="connsiteX68" fmla="*/ 5045 w 10000"/>
              <a:gd name="connsiteY68" fmla="*/ 5350 h 10000"/>
              <a:gd name="connsiteX69" fmla="*/ 4986 w 10000"/>
              <a:gd name="connsiteY69" fmla="*/ 5266 h 10000"/>
              <a:gd name="connsiteX70" fmla="*/ 4923 w 10000"/>
              <a:gd name="connsiteY70" fmla="*/ 5183 h 10000"/>
              <a:gd name="connsiteX71" fmla="*/ 4856 w 10000"/>
              <a:gd name="connsiteY71" fmla="*/ 5109 h 10000"/>
              <a:gd name="connsiteX72" fmla="*/ 4784 w 10000"/>
              <a:gd name="connsiteY72" fmla="*/ 5035 h 10000"/>
              <a:gd name="connsiteX73" fmla="*/ 4707 w 10000"/>
              <a:gd name="connsiteY73" fmla="*/ 4965 h 10000"/>
              <a:gd name="connsiteX74" fmla="*/ 4631 w 10000"/>
              <a:gd name="connsiteY74" fmla="*/ 4900 h 10000"/>
              <a:gd name="connsiteX75" fmla="*/ 4550 w 10000"/>
              <a:gd name="connsiteY75" fmla="*/ 4836 h 10000"/>
              <a:gd name="connsiteX76" fmla="*/ 4469 w 10000"/>
              <a:gd name="connsiteY76" fmla="*/ 4775 h 10000"/>
              <a:gd name="connsiteX77" fmla="*/ 4469 w 10000"/>
              <a:gd name="connsiteY77" fmla="*/ 4775 h 10000"/>
              <a:gd name="connsiteX78" fmla="*/ 4347 w 10000"/>
              <a:gd name="connsiteY78" fmla="*/ 4687 h 10000"/>
              <a:gd name="connsiteX79" fmla="*/ 4226 w 10000"/>
              <a:gd name="connsiteY79" fmla="*/ 4609 h 10000"/>
              <a:gd name="connsiteX80" fmla="*/ 4104 w 10000"/>
              <a:gd name="connsiteY80" fmla="*/ 4530 h 10000"/>
              <a:gd name="connsiteX81" fmla="*/ 3978 w 10000"/>
              <a:gd name="connsiteY81" fmla="*/ 4456 h 10000"/>
              <a:gd name="connsiteX82" fmla="*/ 3852 w 10000"/>
              <a:gd name="connsiteY82" fmla="*/ 4386 h 10000"/>
              <a:gd name="connsiteX83" fmla="*/ 3722 w 10000"/>
              <a:gd name="connsiteY83" fmla="*/ 4317 h 10000"/>
              <a:gd name="connsiteX84" fmla="*/ 3591 w 10000"/>
              <a:gd name="connsiteY84" fmla="*/ 4252 h 10000"/>
              <a:gd name="connsiteX85" fmla="*/ 3461 w 10000"/>
              <a:gd name="connsiteY85" fmla="*/ 4187 h 10000"/>
              <a:gd name="connsiteX86" fmla="*/ 3461 w 10000"/>
              <a:gd name="connsiteY86" fmla="*/ 4187 h 10000"/>
              <a:gd name="connsiteX87" fmla="*/ 3029 w 10000"/>
              <a:gd name="connsiteY87" fmla="*/ 3993 h 10000"/>
              <a:gd name="connsiteX88" fmla="*/ 2601 w 10000"/>
              <a:gd name="connsiteY88" fmla="*/ 3798 h 10000"/>
              <a:gd name="connsiteX89" fmla="*/ 1742 w 10000"/>
              <a:gd name="connsiteY89" fmla="*/ 3414 h 10000"/>
              <a:gd name="connsiteX90" fmla="*/ 1742 w 10000"/>
              <a:gd name="connsiteY90" fmla="*/ 3414 h 10000"/>
              <a:gd name="connsiteX91" fmla="*/ 1598 w 10000"/>
              <a:gd name="connsiteY91" fmla="*/ 3349 h 10000"/>
              <a:gd name="connsiteX92" fmla="*/ 1454 w 10000"/>
              <a:gd name="connsiteY92" fmla="*/ 3279 h 10000"/>
              <a:gd name="connsiteX93" fmla="*/ 1314 w 10000"/>
              <a:gd name="connsiteY93" fmla="*/ 3205 h 10000"/>
              <a:gd name="connsiteX94" fmla="*/ 1179 w 10000"/>
              <a:gd name="connsiteY94" fmla="*/ 3126 h 10000"/>
              <a:gd name="connsiteX95" fmla="*/ 1049 w 10000"/>
              <a:gd name="connsiteY95" fmla="*/ 3038 h 10000"/>
              <a:gd name="connsiteX96" fmla="*/ 923 w 10000"/>
              <a:gd name="connsiteY96" fmla="*/ 2946 h 10000"/>
              <a:gd name="connsiteX97" fmla="*/ 797 w 10000"/>
              <a:gd name="connsiteY97" fmla="*/ 2849 h 10000"/>
              <a:gd name="connsiteX98" fmla="*/ 680 w 10000"/>
              <a:gd name="connsiteY98" fmla="*/ 2742 h 10000"/>
              <a:gd name="connsiteX99" fmla="*/ 680 w 10000"/>
              <a:gd name="connsiteY99" fmla="*/ 2742 h 10000"/>
              <a:gd name="connsiteX100" fmla="*/ 590 w 10000"/>
              <a:gd name="connsiteY100" fmla="*/ 2649 h 10000"/>
              <a:gd name="connsiteX101" fmla="*/ 504 w 10000"/>
              <a:gd name="connsiteY101" fmla="*/ 2557 h 10000"/>
              <a:gd name="connsiteX102" fmla="*/ 423 w 10000"/>
              <a:gd name="connsiteY102" fmla="*/ 2459 h 10000"/>
              <a:gd name="connsiteX103" fmla="*/ 356 w 10000"/>
              <a:gd name="connsiteY103" fmla="*/ 2362 h 10000"/>
              <a:gd name="connsiteX104" fmla="*/ 288 w 10000"/>
              <a:gd name="connsiteY104" fmla="*/ 2260 h 10000"/>
              <a:gd name="connsiteX105" fmla="*/ 230 w 10000"/>
              <a:gd name="connsiteY105" fmla="*/ 2154 h 10000"/>
              <a:gd name="connsiteX106" fmla="*/ 180 w 10000"/>
              <a:gd name="connsiteY106" fmla="*/ 2047 h 10000"/>
              <a:gd name="connsiteX107" fmla="*/ 131 w 10000"/>
              <a:gd name="connsiteY107" fmla="*/ 1941 h 10000"/>
              <a:gd name="connsiteX108" fmla="*/ 95 w 10000"/>
              <a:gd name="connsiteY108" fmla="*/ 1830 h 10000"/>
              <a:gd name="connsiteX109" fmla="*/ 63 w 10000"/>
              <a:gd name="connsiteY109" fmla="*/ 1714 h 10000"/>
              <a:gd name="connsiteX110" fmla="*/ 36 w 10000"/>
              <a:gd name="connsiteY110" fmla="*/ 1593 h 10000"/>
              <a:gd name="connsiteX111" fmla="*/ 18 w 10000"/>
              <a:gd name="connsiteY111" fmla="*/ 1473 h 10000"/>
              <a:gd name="connsiteX112" fmla="*/ 5 w 10000"/>
              <a:gd name="connsiteY112" fmla="*/ 1352 h 10000"/>
              <a:gd name="connsiteX113" fmla="*/ 0 w 10000"/>
              <a:gd name="connsiteY113" fmla="*/ 1227 h 10000"/>
              <a:gd name="connsiteX114" fmla="*/ 0 w 10000"/>
              <a:gd name="connsiteY114" fmla="*/ 1098 h 10000"/>
              <a:gd name="connsiteX115" fmla="*/ 9 w 10000"/>
              <a:gd name="connsiteY115" fmla="*/ 968 h 10000"/>
              <a:gd name="connsiteX116" fmla="*/ 9 w 10000"/>
              <a:gd name="connsiteY116" fmla="*/ 968 h 10000"/>
              <a:gd name="connsiteX117" fmla="*/ 23 w 10000"/>
              <a:gd name="connsiteY117" fmla="*/ 848 h 10000"/>
              <a:gd name="connsiteX118" fmla="*/ 41 w 10000"/>
              <a:gd name="connsiteY118" fmla="*/ 727 h 10000"/>
              <a:gd name="connsiteX119" fmla="*/ 68 w 10000"/>
              <a:gd name="connsiteY119" fmla="*/ 607 h 10000"/>
              <a:gd name="connsiteX120" fmla="*/ 95 w 10000"/>
              <a:gd name="connsiteY120" fmla="*/ 491 h 10000"/>
              <a:gd name="connsiteX121" fmla="*/ 131 w 10000"/>
              <a:gd name="connsiteY121" fmla="*/ 375 h 10000"/>
              <a:gd name="connsiteX122" fmla="*/ 171 w 10000"/>
              <a:gd name="connsiteY122" fmla="*/ 259 h 10000"/>
              <a:gd name="connsiteX123" fmla="*/ 212 w 10000"/>
              <a:gd name="connsiteY123" fmla="*/ 148 h 10000"/>
              <a:gd name="connsiteX124" fmla="*/ 266 w 10000"/>
              <a:gd name="connsiteY124" fmla="*/ 37 h 10000"/>
              <a:gd name="connsiteX125" fmla="*/ 266 w 10000"/>
              <a:gd name="connsiteY125" fmla="*/ 37 h 10000"/>
              <a:gd name="connsiteX126" fmla="*/ 275 w 10000"/>
              <a:gd name="connsiteY126" fmla="*/ 0 h 10000"/>
              <a:gd name="connsiteX127" fmla="*/ 275 w 10000"/>
              <a:gd name="connsiteY127" fmla="*/ 0 h 10000"/>
              <a:gd name="connsiteX0" fmla="*/ 275 w 10000"/>
              <a:gd name="connsiteY0" fmla="*/ 0 h 10000"/>
              <a:gd name="connsiteX1" fmla="*/ 275 w 10000"/>
              <a:gd name="connsiteY1" fmla="*/ 0 h 10000"/>
              <a:gd name="connsiteX2" fmla="*/ 10000 w 10000"/>
              <a:gd name="connsiteY2" fmla="*/ 0 h 10000"/>
              <a:gd name="connsiteX3" fmla="*/ 10000 w 10000"/>
              <a:gd name="connsiteY3" fmla="*/ 0 h 10000"/>
              <a:gd name="connsiteX4" fmla="*/ 10000 w 10000"/>
              <a:gd name="connsiteY4" fmla="*/ 74 h 10000"/>
              <a:gd name="connsiteX5" fmla="*/ 10000 w 10000"/>
              <a:gd name="connsiteY5" fmla="*/ 74 h 10000"/>
              <a:gd name="connsiteX6" fmla="*/ 10000 w 10000"/>
              <a:gd name="connsiteY6" fmla="*/ 9893 h 10000"/>
              <a:gd name="connsiteX7" fmla="*/ 10000 w 10000"/>
              <a:gd name="connsiteY7" fmla="*/ 9893 h 10000"/>
              <a:gd name="connsiteX8" fmla="*/ 10000 w 10000"/>
              <a:gd name="connsiteY8" fmla="*/ 9940 h 10000"/>
              <a:gd name="connsiteX9" fmla="*/ 10000 w 10000"/>
              <a:gd name="connsiteY9" fmla="*/ 9940 h 10000"/>
              <a:gd name="connsiteX10" fmla="*/ 10000 w 10000"/>
              <a:gd name="connsiteY10" fmla="*/ 9958 h 10000"/>
              <a:gd name="connsiteX11" fmla="*/ 9991 w 10000"/>
              <a:gd name="connsiteY11" fmla="*/ 9972 h 10000"/>
              <a:gd name="connsiteX12" fmla="*/ 9982 w 10000"/>
              <a:gd name="connsiteY12" fmla="*/ 9981 h 10000"/>
              <a:gd name="connsiteX13" fmla="*/ 9959 w 10000"/>
              <a:gd name="connsiteY13" fmla="*/ 9991 h 10000"/>
              <a:gd name="connsiteX14" fmla="*/ 9959 w 10000"/>
              <a:gd name="connsiteY14" fmla="*/ 9991 h 10000"/>
              <a:gd name="connsiteX15" fmla="*/ 9905 w 10000"/>
              <a:gd name="connsiteY15" fmla="*/ 9995 h 10000"/>
              <a:gd name="connsiteX16" fmla="*/ 9847 w 10000"/>
              <a:gd name="connsiteY16" fmla="*/ 10000 h 10000"/>
              <a:gd name="connsiteX17" fmla="*/ 9734 w 10000"/>
              <a:gd name="connsiteY17" fmla="*/ 10000 h 10000"/>
              <a:gd name="connsiteX18" fmla="*/ 9626 w 10000"/>
              <a:gd name="connsiteY18" fmla="*/ 9995 h 10000"/>
              <a:gd name="connsiteX19" fmla="*/ 9514 w 10000"/>
              <a:gd name="connsiteY19" fmla="*/ 9981 h 10000"/>
              <a:gd name="connsiteX20" fmla="*/ 9514 w 10000"/>
              <a:gd name="connsiteY20" fmla="*/ 9981 h 10000"/>
              <a:gd name="connsiteX21" fmla="*/ 9397 w 10000"/>
              <a:gd name="connsiteY21" fmla="*/ 9963 h 10000"/>
              <a:gd name="connsiteX22" fmla="*/ 9284 w 10000"/>
              <a:gd name="connsiteY22" fmla="*/ 9944 h 10000"/>
              <a:gd name="connsiteX23" fmla="*/ 9172 w 10000"/>
              <a:gd name="connsiteY23" fmla="*/ 9917 h 10000"/>
              <a:gd name="connsiteX24" fmla="*/ 9059 w 10000"/>
              <a:gd name="connsiteY24" fmla="*/ 9889 h 10000"/>
              <a:gd name="connsiteX25" fmla="*/ 8951 w 10000"/>
              <a:gd name="connsiteY25" fmla="*/ 9856 h 10000"/>
              <a:gd name="connsiteX26" fmla="*/ 8839 w 10000"/>
              <a:gd name="connsiteY26" fmla="*/ 9819 h 10000"/>
              <a:gd name="connsiteX27" fmla="*/ 8623 w 10000"/>
              <a:gd name="connsiteY27" fmla="*/ 9741 h 10000"/>
              <a:gd name="connsiteX28" fmla="*/ 8623 w 10000"/>
              <a:gd name="connsiteY28" fmla="*/ 9741 h 10000"/>
              <a:gd name="connsiteX29" fmla="*/ 8416 w 10000"/>
              <a:gd name="connsiteY29" fmla="*/ 9657 h 10000"/>
              <a:gd name="connsiteX30" fmla="*/ 8213 w 10000"/>
              <a:gd name="connsiteY30" fmla="*/ 9565 h 10000"/>
              <a:gd name="connsiteX31" fmla="*/ 8015 w 10000"/>
              <a:gd name="connsiteY31" fmla="*/ 9467 h 10000"/>
              <a:gd name="connsiteX32" fmla="*/ 7817 w 10000"/>
              <a:gd name="connsiteY32" fmla="*/ 9361 h 10000"/>
              <a:gd name="connsiteX33" fmla="*/ 7619 w 10000"/>
              <a:gd name="connsiteY33" fmla="*/ 9254 h 10000"/>
              <a:gd name="connsiteX34" fmla="*/ 7430 w 10000"/>
              <a:gd name="connsiteY34" fmla="*/ 9138 h 10000"/>
              <a:gd name="connsiteX35" fmla="*/ 7052 w 10000"/>
              <a:gd name="connsiteY35" fmla="*/ 8902 h 10000"/>
              <a:gd name="connsiteX36" fmla="*/ 6805 w 10000"/>
              <a:gd name="connsiteY36" fmla="*/ 8736 h 10000"/>
              <a:gd name="connsiteX37" fmla="*/ 6562 w 10000"/>
              <a:gd name="connsiteY37" fmla="*/ 8564 h 10000"/>
              <a:gd name="connsiteX38" fmla="*/ 6319 w 10000"/>
              <a:gd name="connsiteY38" fmla="*/ 8388 h 10000"/>
              <a:gd name="connsiteX39" fmla="*/ 6085 w 10000"/>
              <a:gd name="connsiteY39" fmla="*/ 8208 h 10000"/>
              <a:gd name="connsiteX40" fmla="*/ 5851 w 10000"/>
              <a:gd name="connsiteY40" fmla="*/ 8022 h 10000"/>
              <a:gd name="connsiteX41" fmla="*/ 5621 w 10000"/>
              <a:gd name="connsiteY41" fmla="*/ 7832 h 10000"/>
              <a:gd name="connsiteX42" fmla="*/ 5392 w 10000"/>
              <a:gd name="connsiteY42" fmla="*/ 7642 h 10000"/>
              <a:gd name="connsiteX43" fmla="*/ 5167 w 10000"/>
              <a:gd name="connsiteY43" fmla="*/ 7443 h 10000"/>
              <a:gd name="connsiteX44" fmla="*/ 5167 w 10000"/>
              <a:gd name="connsiteY44" fmla="*/ 7443 h 10000"/>
              <a:gd name="connsiteX45" fmla="*/ 4905 w 10000"/>
              <a:gd name="connsiteY45" fmla="*/ 7216 h 10000"/>
              <a:gd name="connsiteX46" fmla="*/ 4905 w 10000"/>
              <a:gd name="connsiteY46" fmla="*/ 7216 h 10000"/>
              <a:gd name="connsiteX47" fmla="*/ 4995 w 10000"/>
              <a:gd name="connsiteY47" fmla="*/ 7040 h 10000"/>
              <a:gd name="connsiteX48" fmla="*/ 5077 w 10000"/>
              <a:gd name="connsiteY48" fmla="*/ 6864 h 10000"/>
              <a:gd name="connsiteX49" fmla="*/ 5077 w 10000"/>
              <a:gd name="connsiteY49" fmla="*/ 6864 h 10000"/>
              <a:gd name="connsiteX50" fmla="*/ 5113 w 10000"/>
              <a:gd name="connsiteY50" fmla="*/ 6781 h 10000"/>
              <a:gd name="connsiteX51" fmla="*/ 5144 w 10000"/>
              <a:gd name="connsiteY51" fmla="*/ 6693 h 10000"/>
              <a:gd name="connsiteX52" fmla="*/ 5176 w 10000"/>
              <a:gd name="connsiteY52" fmla="*/ 6605 h 10000"/>
              <a:gd name="connsiteX53" fmla="*/ 5203 w 10000"/>
              <a:gd name="connsiteY53" fmla="*/ 6517 h 10000"/>
              <a:gd name="connsiteX54" fmla="*/ 5225 w 10000"/>
              <a:gd name="connsiteY54" fmla="*/ 6424 h 10000"/>
              <a:gd name="connsiteX55" fmla="*/ 5243 w 10000"/>
              <a:gd name="connsiteY55" fmla="*/ 6336 h 10000"/>
              <a:gd name="connsiteX56" fmla="*/ 5252 w 10000"/>
              <a:gd name="connsiteY56" fmla="*/ 6244 h 10000"/>
              <a:gd name="connsiteX57" fmla="*/ 5261 w 10000"/>
              <a:gd name="connsiteY57" fmla="*/ 6146 h 10000"/>
              <a:gd name="connsiteX58" fmla="*/ 5261 w 10000"/>
              <a:gd name="connsiteY58" fmla="*/ 6146 h 10000"/>
              <a:gd name="connsiteX59" fmla="*/ 5266 w 10000"/>
              <a:gd name="connsiteY59" fmla="*/ 6040 h 10000"/>
              <a:gd name="connsiteX60" fmla="*/ 5257 w 10000"/>
              <a:gd name="connsiteY60" fmla="*/ 5933 h 10000"/>
              <a:gd name="connsiteX61" fmla="*/ 5243 w 10000"/>
              <a:gd name="connsiteY61" fmla="*/ 5831 h 10000"/>
              <a:gd name="connsiteX62" fmla="*/ 5221 w 10000"/>
              <a:gd name="connsiteY62" fmla="*/ 5730 h 10000"/>
              <a:gd name="connsiteX63" fmla="*/ 5189 w 10000"/>
              <a:gd name="connsiteY63" fmla="*/ 5632 h 10000"/>
              <a:gd name="connsiteX64" fmla="*/ 5149 w 10000"/>
              <a:gd name="connsiteY64" fmla="*/ 5535 h 10000"/>
              <a:gd name="connsiteX65" fmla="*/ 5099 w 10000"/>
              <a:gd name="connsiteY65" fmla="*/ 5442 h 10000"/>
              <a:gd name="connsiteX66" fmla="*/ 5045 w 10000"/>
              <a:gd name="connsiteY66" fmla="*/ 5350 h 10000"/>
              <a:gd name="connsiteX67" fmla="*/ 5045 w 10000"/>
              <a:gd name="connsiteY67" fmla="*/ 5350 h 10000"/>
              <a:gd name="connsiteX68" fmla="*/ 4986 w 10000"/>
              <a:gd name="connsiteY68" fmla="*/ 5266 h 10000"/>
              <a:gd name="connsiteX69" fmla="*/ 4923 w 10000"/>
              <a:gd name="connsiteY69" fmla="*/ 5183 h 10000"/>
              <a:gd name="connsiteX70" fmla="*/ 4856 w 10000"/>
              <a:gd name="connsiteY70" fmla="*/ 5109 h 10000"/>
              <a:gd name="connsiteX71" fmla="*/ 4784 w 10000"/>
              <a:gd name="connsiteY71" fmla="*/ 5035 h 10000"/>
              <a:gd name="connsiteX72" fmla="*/ 4707 w 10000"/>
              <a:gd name="connsiteY72" fmla="*/ 4965 h 10000"/>
              <a:gd name="connsiteX73" fmla="*/ 4631 w 10000"/>
              <a:gd name="connsiteY73" fmla="*/ 4900 h 10000"/>
              <a:gd name="connsiteX74" fmla="*/ 4550 w 10000"/>
              <a:gd name="connsiteY74" fmla="*/ 4836 h 10000"/>
              <a:gd name="connsiteX75" fmla="*/ 4469 w 10000"/>
              <a:gd name="connsiteY75" fmla="*/ 4775 h 10000"/>
              <a:gd name="connsiteX76" fmla="*/ 4469 w 10000"/>
              <a:gd name="connsiteY76" fmla="*/ 4775 h 10000"/>
              <a:gd name="connsiteX77" fmla="*/ 4347 w 10000"/>
              <a:gd name="connsiteY77" fmla="*/ 4687 h 10000"/>
              <a:gd name="connsiteX78" fmla="*/ 4226 w 10000"/>
              <a:gd name="connsiteY78" fmla="*/ 4609 h 10000"/>
              <a:gd name="connsiteX79" fmla="*/ 4104 w 10000"/>
              <a:gd name="connsiteY79" fmla="*/ 4530 h 10000"/>
              <a:gd name="connsiteX80" fmla="*/ 3978 w 10000"/>
              <a:gd name="connsiteY80" fmla="*/ 4456 h 10000"/>
              <a:gd name="connsiteX81" fmla="*/ 3852 w 10000"/>
              <a:gd name="connsiteY81" fmla="*/ 4386 h 10000"/>
              <a:gd name="connsiteX82" fmla="*/ 3722 w 10000"/>
              <a:gd name="connsiteY82" fmla="*/ 4317 h 10000"/>
              <a:gd name="connsiteX83" fmla="*/ 3591 w 10000"/>
              <a:gd name="connsiteY83" fmla="*/ 4252 h 10000"/>
              <a:gd name="connsiteX84" fmla="*/ 3461 w 10000"/>
              <a:gd name="connsiteY84" fmla="*/ 4187 h 10000"/>
              <a:gd name="connsiteX85" fmla="*/ 3461 w 10000"/>
              <a:gd name="connsiteY85" fmla="*/ 4187 h 10000"/>
              <a:gd name="connsiteX86" fmla="*/ 3029 w 10000"/>
              <a:gd name="connsiteY86" fmla="*/ 3993 h 10000"/>
              <a:gd name="connsiteX87" fmla="*/ 2601 w 10000"/>
              <a:gd name="connsiteY87" fmla="*/ 3798 h 10000"/>
              <a:gd name="connsiteX88" fmla="*/ 1742 w 10000"/>
              <a:gd name="connsiteY88" fmla="*/ 3414 h 10000"/>
              <a:gd name="connsiteX89" fmla="*/ 1742 w 10000"/>
              <a:gd name="connsiteY89" fmla="*/ 3414 h 10000"/>
              <a:gd name="connsiteX90" fmla="*/ 1598 w 10000"/>
              <a:gd name="connsiteY90" fmla="*/ 3349 h 10000"/>
              <a:gd name="connsiteX91" fmla="*/ 1454 w 10000"/>
              <a:gd name="connsiteY91" fmla="*/ 3279 h 10000"/>
              <a:gd name="connsiteX92" fmla="*/ 1314 w 10000"/>
              <a:gd name="connsiteY92" fmla="*/ 3205 h 10000"/>
              <a:gd name="connsiteX93" fmla="*/ 1179 w 10000"/>
              <a:gd name="connsiteY93" fmla="*/ 3126 h 10000"/>
              <a:gd name="connsiteX94" fmla="*/ 1049 w 10000"/>
              <a:gd name="connsiteY94" fmla="*/ 3038 h 10000"/>
              <a:gd name="connsiteX95" fmla="*/ 923 w 10000"/>
              <a:gd name="connsiteY95" fmla="*/ 2946 h 10000"/>
              <a:gd name="connsiteX96" fmla="*/ 797 w 10000"/>
              <a:gd name="connsiteY96" fmla="*/ 2849 h 10000"/>
              <a:gd name="connsiteX97" fmla="*/ 680 w 10000"/>
              <a:gd name="connsiteY97" fmla="*/ 2742 h 10000"/>
              <a:gd name="connsiteX98" fmla="*/ 680 w 10000"/>
              <a:gd name="connsiteY98" fmla="*/ 2742 h 10000"/>
              <a:gd name="connsiteX99" fmla="*/ 590 w 10000"/>
              <a:gd name="connsiteY99" fmla="*/ 2649 h 10000"/>
              <a:gd name="connsiteX100" fmla="*/ 504 w 10000"/>
              <a:gd name="connsiteY100" fmla="*/ 2557 h 10000"/>
              <a:gd name="connsiteX101" fmla="*/ 423 w 10000"/>
              <a:gd name="connsiteY101" fmla="*/ 2459 h 10000"/>
              <a:gd name="connsiteX102" fmla="*/ 356 w 10000"/>
              <a:gd name="connsiteY102" fmla="*/ 2362 h 10000"/>
              <a:gd name="connsiteX103" fmla="*/ 288 w 10000"/>
              <a:gd name="connsiteY103" fmla="*/ 2260 h 10000"/>
              <a:gd name="connsiteX104" fmla="*/ 230 w 10000"/>
              <a:gd name="connsiteY104" fmla="*/ 2154 h 10000"/>
              <a:gd name="connsiteX105" fmla="*/ 180 w 10000"/>
              <a:gd name="connsiteY105" fmla="*/ 2047 h 10000"/>
              <a:gd name="connsiteX106" fmla="*/ 131 w 10000"/>
              <a:gd name="connsiteY106" fmla="*/ 1941 h 10000"/>
              <a:gd name="connsiteX107" fmla="*/ 95 w 10000"/>
              <a:gd name="connsiteY107" fmla="*/ 1830 h 10000"/>
              <a:gd name="connsiteX108" fmla="*/ 63 w 10000"/>
              <a:gd name="connsiteY108" fmla="*/ 1714 h 10000"/>
              <a:gd name="connsiteX109" fmla="*/ 36 w 10000"/>
              <a:gd name="connsiteY109" fmla="*/ 1593 h 10000"/>
              <a:gd name="connsiteX110" fmla="*/ 18 w 10000"/>
              <a:gd name="connsiteY110" fmla="*/ 1473 h 10000"/>
              <a:gd name="connsiteX111" fmla="*/ 5 w 10000"/>
              <a:gd name="connsiteY111" fmla="*/ 1352 h 10000"/>
              <a:gd name="connsiteX112" fmla="*/ 0 w 10000"/>
              <a:gd name="connsiteY112" fmla="*/ 1227 h 10000"/>
              <a:gd name="connsiteX113" fmla="*/ 0 w 10000"/>
              <a:gd name="connsiteY113" fmla="*/ 1098 h 10000"/>
              <a:gd name="connsiteX114" fmla="*/ 9 w 10000"/>
              <a:gd name="connsiteY114" fmla="*/ 968 h 10000"/>
              <a:gd name="connsiteX115" fmla="*/ 9 w 10000"/>
              <a:gd name="connsiteY115" fmla="*/ 968 h 10000"/>
              <a:gd name="connsiteX116" fmla="*/ 23 w 10000"/>
              <a:gd name="connsiteY116" fmla="*/ 848 h 10000"/>
              <a:gd name="connsiteX117" fmla="*/ 41 w 10000"/>
              <a:gd name="connsiteY117" fmla="*/ 727 h 10000"/>
              <a:gd name="connsiteX118" fmla="*/ 68 w 10000"/>
              <a:gd name="connsiteY118" fmla="*/ 607 h 10000"/>
              <a:gd name="connsiteX119" fmla="*/ 95 w 10000"/>
              <a:gd name="connsiteY119" fmla="*/ 491 h 10000"/>
              <a:gd name="connsiteX120" fmla="*/ 131 w 10000"/>
              <a:gd name="connsiteY120" fmla="*/ 375 h 10000"/>
              <a:gd name="connsiteX121" fmla="*/ 171 w 10000"/>
              <a:gd name="connsiteY121" fmla="*/ 259 h 10000"/>
              <a:gd name="connsiteX122" fmla="*/ 212 w 10000"/>
              <a:gd name="connsiteY122" fmla="*/ 148 h 10000"/>
              <a:gd name="connsiteX123" fmla="*/ 266 w 10000"/>
              <a:gd name="connsiteY123" fmla="*/ 37 h 10000"/>
              <a:gd name="connsiteX124" fmla="*/ 266 w 10000"/>
              <a:gd name="connsiteY124" fmla="*/ 37 h 10000"/>
              <a:gd name="connsiteX125" fmla="*/ 275 w 10000"/>
              <a:gd name="connsiteY125" fmla="*/ 0 h 10000"/>
              <a:gd name="connsiteX126" fmla="*/ 275 w 10000"/>
              <a:gd name="connsiteY126" fmla="*/ 0 h 10000"/>
              <a:gd name="connsiteX0" fmla="*/ 275 w 10000"/>
              <a:gd name="connsiteY0" fmla="*/ 0 h 10000"/>
              <a:gd name="connsiteX1" fmla="*/ 275 w 10000"/>
              <a:gd name="connsiteY1" fmla="*/ 0 h 10000"/>
              <a:gd name="connsiteX2" fmla="*/ 10000 w 10000"/>
              <a:gd name="connsiteY2" fmla="*/ 0 h 10000"/>
              <a:gd name="connsiteX3" fmla="*/ 10000 w 10000"/>
              <a:gd name="connsiteY3" fmla="*/ 0 h 10000"/>
              <a:gd name="connsiteX4" fmla="*/ 10000 w 10000"/>
              <a:gd name="connsiteY4" fmla="*/ 74 h 10000"/>
              <a:gd name="connsiteX5" fmla="*/ 10000 w 10000"/>
              <a:gd name="connsiteY5" fmla="*/ 74 h 10000"/>
              <a:gd name="connsiteX6" fmla="*/ 10000 w 10000"/>
              <a:gd name="connsiteY6" fmla="*/ 9893 h 10000"/>
              <a:gd name="connsiteX7" fmla="*/ 10000 w 10000"/>
              <a:gd name="connsiteY7" fmla="*/ 9893 h 10000"/>
              <a:gd name="connsiteX8" fmla="*/ 10000 w 10000"/>
              <a:gd name="connsiteY8" fmla="*/ 9940 h 10000"/>
              <a:gd name="connsiteX9" fmla="*/ 10000 w 10000"/>
              <a:gd name="connsiteY9" fmla="*/ 9940 h 10000"/>
              <a:gd name="connsiteX10" fmla="*/ 10000 w 10000"/>
              <a:gd name="connsiteY10" fmla="*/ 9958 h 10000"/>
              <a:gd name="connsiteX11" fmla="*/ 9991 w 10000"/>
              <a:gd name="connsiteY11" fmla="*/ 9972 h 10000"/>
              <a:gd name="connsiteX12" fmla="*/ 9982 w 10000"/>
              <a:gd name="connsiteY12" fmla="*/ 9981 h 10000"/>
              <a:gd name="connsiteX13" fmla="*/ 9959 w 10000"/>
              <a:gd name="connsiteY13" fmla="*/ 9991 h 10000"/>
              <a:gd name="connsiteX14" fmla="*/ 9959 w 10000"/>
              <a:gd name="connsiteY14" fmla="*/ 9991 h 10000"/>
              <a:gd name="connsiteX15" fmla="*/ 9905 w 10000"/>
              <a:gd name="connsiteY15" fmla="*/ 9995 h 10000"/>
              <a:gd name="connsiteX16" fmla="*/ 9847 w 10000"/>
              <a:gd name="connsiteY16" fmla="*/ 10000 h 10000"/>
              <a:gd name="connsiteX17" fmla="*/ 9734 w 10000"/>
              <a:gd name="connsiteY17" fmla="*/ 10000 h 10000"/>
              <a:gd name="connsiteX18" fmla="*/ 9626 w 10000"/>
              <a:gd name="connsiteY18" fmla="*/ 9995 h 10000"/>
              <a:gd name="connsiteX19" fmla="*/ 9514 w 10000"/>
              <a:gd name="connsiteY19" fmla="*/ 9981 h 10000"/>
              <a:gd name="connsiteX20" fmla="*/ 9514 w 10000"/>
              <a:gd name="connsiteY20" fmla="*/ 9981 h 10000"/>
              <a:gd name="connsiteX21" fmla="*/ 9397 w 10000"/>
              <a:gd name="connsiteY21" fmla="*/ 9963 h 10000"/>
              <a:gd name="connsiteX22" fmla="*/ 9284 w 10000"/>
              <a:gd name="connsiteY22" fmla="*/ 9944 h 10000"/>
              <a:gd name="connsiteX23" fmla="*/ 9172 w 10000"/>
              <a:gd name="connsiteY23" fmla="*/ 9917 h 10000"/>
              <a:gd name="connsiteX24" fmla="*/ 9059 w 10000"/>
              <a:gd name="connsiteY24" fmla="*/ 9889 h 10000"/>
              <a:gd name="connsiteX25" fmla="*/ 8951 w 10000"/>
              <a:gd name="connsiteY25" fmla="*/ 9856 h 10000"/>
              <a:gd name="connsiteX26" fmla="*/ 8839 w 10000"/>
              <a:gd name="connsiteY26" fmla="*/ 9819 h 10000"/>
              <a:gd name="connsiteX27" fmla="*/ 8623 w 10000"/>
              <a:gd name="connsiteY27" fmla="*/ 9741 h 10000"/>
              <a:gd name="connsiteX28" fmla="*/ 8623 w 10000"/>
              <a:gd name="connsiteY28" fmla="*/ 9741 h 10000"/>
              <a:gd name="connsiteX29" fmla="*/ 8416 w 10000"/>
              <a:gd name="connsiteY29" fmla="*/ 9657 h 10000"/>
              <a:gd name="connsiteX30" fmla="*/ 8213 w 10000"/>
              <a:gd name="connsiteY30" fmla="*/ 9565 h 10000"/>
              <a:gd name="connsiteX31" fmla="*/ 8015 w 10000"/>
              <a:gd name="connsiteY31" fmla="*/ 9467 h 10000"/>
              <a:gd name="connsiteX32" fmla="*/ 7817 w 10000"/>
              <a:gd name="connsiteY32" fmla="*/ 9361 h 10000"/>
              <a:gd name="connsiteX33" fmla="*/ 7619 w 10000"/>
              <a:gd name="connsiteY33" fmla="*/ 9254 h 10000"/>
              <a:gd name="connsiteX34" fmla="*/ 7052 w 10000"/>
              <a:gd name="connsiteY34" fmla="*/ 8902 h 10000"/>
              <a:gd name="connsiteX35" fmla="*/ 6805 w 10000"/>
              <a:gd name="connsiteY35" fmla="*/ 8736 h 10000"/>
              <a:gd name="connsiteX36" fmla="*/ 6562 w 10000"/>
              <a:gd name="connsiteY36" fmla="*/ 8564 h 10000"/>
              <a:gd name="connsiteX37" fmla="*/ 6319 w 10000"/>
              <a:gd name="connsiteY37" fmla="*/ 8388 h 10000"/>
              <a:gd name="connsiteX38" fmla="*/ 6085 w 10000"/>
              <a:gd name="connsiteY38" fmla="*/ 8208 h 10000"/>
              <a:gd name="connsiteX39" fmla="*/ 5851 w 10000"/>
              <a:gd name="connsiteY39" fmla="*/ 8022 h 10000"/>
              <a:gd name="connsiteX40" fmla="*/ 5621 w 10000"/>
              <a:gd name="connsiteY40" fmla="*/ 7832 h 10000"/>
              <a:gd name="connsiteX41" fmla="*/ 5392 w 10000"/>
              <a:gd name="connsiteY41" fmla="*/ 7642 h 10000"/>
              <a:gd name="connsiteX42" fmla="*/ 5167 w 10000"/>
              <a:gd name="connsiteY42" fmla="*/ 7443 h 10000"/>
              <a:gd name="connsiteX43" fmla="*/ 5167 w 10000"/>
              <a:gd name="connsiteY43" fmla="*/ 7443 h 10000"/>
              <a:gd name="connsiteX44" fmla="*/ 4905 w 10000"/>
              <a:gd name="connsiteY44" fmla="*/ 7216 h 10000"/>
              <a:gd name="connsiteX45" fmla="*/ 4905 w 10000"/>
              <a:gd name="connsiteY45" fmla="*/ 7216 h 10000"/>
              <a:gd name="connsiteX46" fmla="*/ 4995 w 10000"/>
              <a:gd name="connsiteY46" fmla="*/ 7040 h 10000"/>
              <a:gd name="connsiteX47" fmla="*/ 5077 w 10000"/>
              <a:gd name="connsiteY47" fmla="*/ 6864 h 10000"/>
              <a:gd name="connsiteX48" fmla="*/ 5077 w 10000"/>
              <a:gd name="connsiteY48" fmla="*/ 6864 h 10000"/>
              <a:gd name="connsiteX49" fmla="*/ 5113 w 10000"/>
              <a:gd name="connsiteY49" fmla="*/ 6781 h 10000"/>
              <a:gd name="connsiteX50" fmla="*/ 5144 w 10000"/>
              <a:gd name="connsiteY50" fmla="*/ 6693 h 10000"/>
              <a:gd name="connsiteX51" fmla="*/ 5176 w 10000"/>
              <a:gd name="connsiteY51" fmla="*/ 6605 h 10000"/>
              <a:gd name="connsiteX52" fmla="*/ 5203 w 10000"/>
              <a:gd name="connsiteY52" fmla="*/ 6517 h 10000"/>
              <a:gd name="connsiteX53" fmla="*/ 5225 w 10000"/>
              <a:gd name="connsiteY53" fmla="*/ 6424 h 10000"/>
              <a:gd name="connsiteX54" fmla="*/ 5243 w 10000"/>
              <a:gd name="connsiteY54" fmla="*/ 6336 h 10000"/>
              <a:gd name="connsiteX55" fmla="*/ 5252 w 10000"/>
              <a:gd name="connsiteY55" fmla="*/ 6244 h 10000"/>
              <a:gd name="connsiteX56" fmla="*/ 5261 w 10000"/>
              <a:gd name="connsiteY56" fmla="*/ 6146 h 10000"/>
              <a:gd name="connsiteX57" fmla="*/ 5261 w 10000"/>
              <a:gd name="connsiteY57" fmla="*/ 6146 h 10000"/>
              <a:gd name="connsiteX58" fmla="*/ 5266 w 10000"/>
              <a:gd name="connsiteY58" fmla="*/ 6040 h 10000"/>
              <a:gd name="connsiteX59" fmla="*/ 5257 w 10000"/>
              <a:gd name="connsiteY59" fmla="*/ 5933 h 10000"/>
              <a:gd name="connsiteX60" fmla="*/ 5243 w 10000"/>
              <a:gd name="connsiteY60" fmla="*/ 5831 h 10000"/>
              <a:gd name="connsiteX61" fmla="*/ 5221 w 10000"/>
              <a:gd name="connsiteY61" fmla="*/ 5730 h 10000"/>
              <a:gd name="connsiteX62" fmla="*/ 5189 w 10000"/>
              <a:gd name="connsiteY62" fmla="*/ 5632 h 10000"/>
              <a:gd name="connsiteX63" fmla="*/ 5149 w 10000"/>
              <a:gd name="connsiteY63" fmla="*/ 5535 h 10000"/>
              <a:gd name="connsiteX64" fmla="*/ 5099 w 10000"/>
              <a:gd name="connsiteY64" fmla="*/ 5442 h 10000"/>
              <a:gd name="connsiteX65" fmla="*/ 5045 w 10000"/>
              <a:gd name="connsiteY65" fmla="*/ 5350 h 10000"/>
              <a:gd name="connsiteX66" fmla="*/ 5045 w 10000"/>
              <a:gd name="connsiteY66" fmla="*/ 5350 h 10000"/>
              <a:gd name="connsiteX67" fmla="*/ 4986 w 10000"/>
              <a:gd name="connsiteY67" fmla="*/ 5266 h 10000"/>
              <a:gd name="connsiteX68" fmla="*/ 4923 w 10000"/>
              <a:gd name="connsiteY68" fmla="*/ 5183 h 10000"/>
              <a:gd name="connsiteX69" fmla="*/ 4856 w 10000"/>
              <a:gd name="connsiteY69" fmla="*/ 5109 h 10000"/>
              <a:gd name="connsiteX70" fmla="*/ 4784 w 10000"/>
              <a:gd name="connsiteY70" fmla="*/ 5035 h 10000"/>
              <a:gd name="connsiteX71" fmla="*/ 4707 w 10000"/>
              <a:gd name="connsiteY71" fmla="*/ 4965 h 10000"/>
              <a:gd name="connsiteX72" fmla="*/ 4631 w 10000"/>
              <a:gd name="connsiteY72" fmla="*/ 4900 h 10000"/>
              <a:gd name="connsiteX73" fmla="*/ 4550 w 10000"/>
              <a:gd name="connsiteY73" fmla="*/ 4836 h 10000"/>
              <a:gd name="connsiteX74" fmla="*/ 4469 w 10000"/>
              <a:gd name="connsiteY74" fmla="*/ 4775 h 10000"/>
              <a:gd name="connsiteX75" fmla="*/ 4469 w 10000"/>
              <a:gd name="connsiteY75" fmla="*/ 4775 h 10000"/>
              <a:gd name="connsiteX76" fmla="*/ 4347 w 10000"/>
              <a:gd name="connsiteY76" fmla="*/ 4687 h 10000"/>
              <a:gd name="connsiteX77" fmla="*/ 4226 w 10000"/>
              <a:gd name="connsiteY77" fmla="*/ 4609 h 10000"/>
              <a:gd name="connsiteX78" fmla="*/ 4104 w 10000"/>
              <a:gd name="connsiteY78" fmla="*/ 4530 h 10000"/>
              <a:gd name="connsiteX79" fmla="*/ 3978 w 10000"/>
              <a:gd name="connsiteY79" fmla="*/ 4456 h 10000"/>
              <a:gd name="connsiteX80" fmla="*/ 3852 w 10000"/>
              <a:gd name="connsiteY80" fmla="*/ 4386 h 10000"/>
              <a:gd name="connsiteX81" fmla="*/ 3722 w 10000"/>
              <a:gd name="connsiteY81" fmla="*/ 4317 h 10000"/>
              <a:gd name="connsiteX82" fmla="*/ 3591 w 10000"/>
              <a:gd name="connsiteY82" fmla="*/ 4252 h 10000"/>
              <a:gd name="connsiteX83" fmla="*/ 3461 w 10000"/>
              <a:gd name="connsiteY83" fmla="*/ 4187 h 10000"/>
              <a:gd name="connsiteX84" fmla="*/ 3461 w 10000"/>
              <a:gd name="connsiteY84" fmla="*/ 4187 h 10000"/>
              <a:gd name="connsiteX85" fmla="*/ 3029 w 10000"/>
              <a:gd name="connsiteY85" fmla="*/ 3993 h 10000"/>
              <a:gd name="connsiteX86" fmla="*/ 2601 w 10000"/>
              <a:gd name="connsiteY86" fmla="*/ 3798 h 10000"/>
              <a:gd name="connsiteX87" fmla="*/ 1742 w 10000"/>
              <a:gd name="connsiteY87" fmla="*/ 3414 h 10000"/>
              <a:gd name="connsiteX88" fmla="*/ 1742 w 10000"/>
              <a:gd name="connsiteY88" fmla="*/ 3414 h 10000"/>
              <a:gd name="connsiteX89" fmla="*/ 1598 w 10000"/>
              <a:gd name="connsiteY89" fmla="*/ 3349 h 10000"/>
              <a:gd name="connsiteX90" fmla="*/ 1454 w 10000"/>
              <a:gd name="connsiteY90" fmla="*/ 3279 h 10000"/>
              <a:gd name="connsiteX91" fmla="*/ 1314 w 10000"/>
              <a:gd name="connsiteY91" fmla="*/ 3205 h 10000"/>
              <a:gd name="connsiteX92" fmla="*/ 1179 w 10000"/>
              <a:gd name="connsiteY92" fmla="*/ 3126 h 10000"/>
              <a:gd name="connsiteX93" fmla="*/ 1049 w 10000"/>
              <a:gd name="connsiteY93" fmla="*/ 3038 h 10000"/>
              <a:gd name="connsiteX94" fmla="*/ 923 w 10000"/>
              <a:gd name="connsiteY94" fmla="*/ 2946 h 10000"/>
              <a:gd name="connsiteX95" fmla="*/ 797 w 10000"/>
              <a:gd name="connsiteY95" fmla="*/ 2849 h 10000"/>
              <a:gd name="connsiteX96" fmla="*/ 680 w 10000"/>
              <a:gd name="connsiteY96" fmla="*/ 2742 h 10000"/>
              <a:gd name="connsiteX97" fmla="*/ 680 w 10000"/>
              <a:gd name="connsiteY97" fmla="*/ 2742 h 10000"/>
              <a:gd name="connsiteX98" fmla="*/ 590 w 10000"/>
              <a:gd name="connsiteY98" fmla="*/ 2649 h 10000"/>
              <a:gd name="connsiteX99" fmla="*/ 504 w 10000"/>
              <a:gd name="connsiteY99" fmla="*/ 2557 h 10000"/>
              <a:gd name="connsiteX100" fmla="*/ 423 w 10000"/>
              <a:gd name="connsiteY100" fmla="*/ 2459 h 10000"/>
              <a:gd name="connsiteX101" fmla="*/ 356 w 10000"/>
              <a:gd name="connsiteY101" fmla="*/ 2362 h 10000"/>
              <a:gd name="connsiteX102" fmla="*/ 288 w 10000"/>
              <a:gd name="connsiteY102" fmla="*/ 2260 h 10000"/>
              <a:gd name="connsiteX103" fmla="*/ 230 w 10000"/>
              <a:gd name="connsiteY103" fmla="*/ 2154 h 10000"/>
              <a:gd name="connsiteX104" fmla="*/ 180 w 10000"/>
              <a:gd name="connsiteY104" fmla="*/ 2047 h 10000"/>
              <a:gd name="connsiteX105" fmla="*/ 131 w 10000"/>
              <a:gd name="connsiteY105" fmla="*/ 1941 h 10000"/>
              <a:gd name="connsiteX106" fmla="*/ 95 w 10000"/>
              <a:gd name="connsiteY106" fmla="*/ 1830 h 10000"/>
              <a:gd name="connsiteX107" fmla="*/ 63 w 10000"/>
              <a:gd name="connsiteY107" fmla="*/ 1714 h 10000"/>
              <a:gd name="connsiteX108" fmla="*/ 36 w 10000"/>
              <a:gd name="connsiteY108" fmla="*/ 1593 h 10000"/>
              <a:gd name="connsiteX109" fmla="*/ 18 w 10000"/>
              <a:gd name="connsiteY109" fmla="*/ 1473 h 10000"/>
              <a:gd name="connsiteX110" fmla="*/ 5 w 10000"/>
              <a:gd name="connsiteY110" fmla="*/ 1352 h 10000"/>
              <a:gd name="connsiteX111" fmla="*/ 0 w 10000"/>
              <a:gd name="connsiteY111" fmla="*/ 1227 h 10000"/>
              <a:gd name="connsiteX112" fmla="*/ 0 w 10000"/>
              <a:gd name="connsiteY112" fmla="*/ 1098 h 10000"/>
              <a:gd name="connsiteX113" fmla="*/ 9 w 10000"/>
              <a:gd name="connsiteY113" fmla="*/ 968 h 10000"/>
              <a:gd name="connsiteX114" fmla="*/ 9 w 10000"/>
              <a:gd name="connsiteY114" fmla="*/ 968 h 10000"/>
              <a:gd name="connsiteX115" fmla="*/ 23 w 10000"/>
              <a:gd name="connsiteY115" fmla="*/ 848 h 10000"/>
              <a:gd name="connsiteX116" fmla="*/ 41 w 10000"/>
              <a:gd name="connsiteY116" fmla="*/ 727 h 10000"/>
              <a:gd name="connsiteX117" fmla="*/ 68 w 10000"/>
              <a:gd name="connsiteY117" fmla="*/ 607 h 10000"/>
              <a:gd name="connsiteX118" fmla="*/ 95 w 10000"/>
              <a:gd name="connsiteY118" fmla="*/ 491 h 10000"/>
              <a:gd name="connsiteX119" fmla="*/ 131 w 10000"/>
              <a:gd name="connsiteY119" fmla="*/ 375 h 10000"/>
              <a:gd name="connsiteX120" fmla="*/ 171 w 10000"/>
              <a:gd name="connsiteY120" fmla="*/ 259 h 10000"/>
              <a:gd name="connsiteX121" fmla="*/ 212 w 10000"/>
              <a:gd name="connsiteY121" fmla="*/ 148 h 10000"/>
              <a:gd name="connsiteX122" fmla="*/ 266 w 10000"/>
              <a:gd name="connsiteY122" fmla="*/ 37 h 10000"/>
              <a:gd name="connsiteX123" fmla="*/ 266 w 10000"/>
              <a:gd name="connsiteY123" fmla="*/ 37 h 10000"/>
              <a:gd name="connsiteX124" fmla="*/ 275 w 10000"/>
              <a:gd name="connsiteY124" fmla="*/ 0 h 10000"/>
              <a:gd name="connsiteX125" fmla="*/ 275 w 10000"/>
              <a:gd name="connsiteY125" fmla="*/ 0 h 10000"/>
              <a:gd name="connsiteX0" fmla="*/ 275 w 10000"/>
              <a:gd name="connsiteY0" fmla="*/ 0 h 10000"/>
              <a:gd name="connsiteX1" fmla="*/ 275 w 10000"/>
              <a:gd name="connsiteY1" fmla="*/ 0 h 10000"/>
              <a:gd name="connsiteX2" fmla="*/ 10000 w 10000"/>
              <a:gd name="connsiteY2" fmla="*/ 0 h 10000"/>
              <a:gd name="connsiteX3" fmla="*/ 10000 w 10000"/>
              <a:gd name="connsiteY3" fmla="*/ 0 h 10000"/>
              <a:gd name="connsiteX4" fmla="*/ 10000 w 10000"/>
              <a:gd name="connsiteY4" fmla="*/ 74 h 10000"/>
              <a:gd name="connsiteX5" fmla="*/ 10000 w 10000"/>
              <a:gd name="connsiteY5" fmla="*/ 74 h 10000"/>
              <a:gd name="connsiteX6" fmla="*/ 10000 w 10000"/>
              <a:gd name="connsiteY6" fmla="*/ 9893 h 10000"/>
              <a:gd name="connsiteX7" fmla="*/ 10000 w 10000"/>
              <a:gd name="connsiteY7" fmla="*/ 9893 h 10000"/>
              <a:gd name="connsiteX8" fmla="*/ 10000 w 10000"/>
              <a:gd name="connsiteY8" fmla="*/ 9940 h 10000"/>
              <a:gd name="connsiteX9" fmla="*/ 10000 w 10000"/>
              <a:gd name="connsiteY9" fmla="*/ 9940 h 10000"/>
              <a:gd name="connsiteX10" fmla="*/ 10000 w 10000"/>
              <a:gd name="connsiteY10" fmla="*/ 9958 h 10000"/>
              <a:gd name="connsiteX11" fmla="*/ 9991 w 10000"/>
              <a:gd name="connsiteY11" fmla="*/ 9972 h 10000"/>
              <a:gd name="connsiteX12" fmla="*/ 9982 w 10000"/>
              <a:gd name="connsiteY12" fmla="*/ 9981 h 10000"/>
              <a:gd name="connsiteX13" fmla="*/ 9959 w 10000"/>
              <a:gd name="connsiteY13" fmla="*/ 9991 h 10000"/>
              <a:gd name="connsiteX14" fmla="*/ 9959 w 10000"/>
              <a:gd name="connsiteY14" fmla="*/ 9991 h 10000"/>
              <a:gd name="connsiteX15" fmla="*/ 9905 w 10000"/>
              <a:gd name="connsiteY15" fmla="*/ 9995 h 10000"/>
              <a:gd name="connsiteX16" fmla="*/ 9847 w 10000"/>
              <a:gd name="connsiteY16" fmla="*/ 10000 h 10000"/>
              <a:gd name="connsiteX17" fmla="*/ 9734 w 10000"/>
              <a:gd name="connsiteY17" fmla="*/ 10000 h 10000"/>
              <a:gd name="connsiteX18" fmla="*/ 9626 w 10000"/>
              <a:gd name="connsiteY18" fmla="*/ 9995 h 10000"/>
              <a:gd name="connsiteX19" fmla="*/ 9514 w 10000"/>
              <a:gd name="connsiteY19" fmla="*/ 9981 h 10000"/>
              <a:gd name="connsiteX20" fmla="*/ 9514 w 10000"/>
              <a:gd name="connsiteY20" fmla="*/ 9981 h 10000"/>
              <a:gd name="connsiteX21" fmla="*/ 9397 w 10000"/>
              <a:gd name="connsiteY21" fmla="*/ 9963 h 10000"/>
              <a:gd name="connsiteX22" fmla="*/ 9284 w 10000"/>
              <a:gd name="connsiteY22" fmla="*/ 9944 h 10000"/>
              <a:gd name="connsiteX23" fmla="*/ 9172 w 10000"/>
              <a:gd name="connsiteY23" fmla="*/ 9917 h 10000"/>
              <a:gd name="connsiteX24" fmla="*/ 9059 w 10000"/>
              <a:gd name="connsiteY24" fmla="*/ 9889 h 10000"/>
              <a:gd name="connsiteX25" fmla="*/ 8951 w 10000"/>
              <a:gd name="connsiteY25" fmla="*/ 9856 h 10000"/>
              <a:gd name="connsiteX26" fmla="*/ 8839 w 10000"/>
              <a:gd name="connsiteY26" fmla="*/ 9819 h 10000"/>
              <a:gd name="connsiteX27" fmla="*/ 8623 w 10000"/>
              <a:gd name="connsiteY27" fmla="*/ 9741 h 10000"/>
              <a:gd name="connsiteX28" fmla="*/ 8623 w 10000"/>
              <a:gd name="connsiteY28" fmla="*/ 9741 h 10000"/>
              <a:gd name="connsiteX29" fmla="*/ 8416 w 10000"/>
              <a:gd name="connsiteY29" fmla="*/ 9657 h 10000"/>
              <a:gd name="connsiteX30" fmla="*/ 8213 w 10000"/>
              <a:gd name="connsiteY30" fmla="*/ 9565 h 10000"/>
              <a:gd name="connsiteX31" fmla="*/ 8015 w 10000"/>
              <a:gd name="connsiteY31" fmla="*/ 9467 h 10000"/>
              <a:gd name="connsiteX32" fmla="*/ 7817 w 10000"/>
              <a:gd name="connsiteY32" fmla="*/ 9361 h 10000"/>
              <a:gd name="connsiteX33" fmla="*/ 7052 w 10000"/>
              <a:gd name="connsiteY33" fmla="*/ 8902 h 10000"/>
              <a:gd name="connsiteX34" fmla="*/ 6805 w 10000"/>
              <a:gd name="connsiteY34" fmla="*/ 8736 h 10000"/>
              <a:gd name="connsiteX35" fmla="*/ 6562 w 10000"/>
              <a:gd name="connsiteY35" fmla="*/ 8564 h 10000"/>
              <a:gd name="connsiteX36" fmla="*/ 6319 w 10000"/>
              <a:gd name="connsiteY36" fmla="*/ 8388 h 10000"/>
              <a:gd name="connsiteX37" fmla="*/ 6085 w 10000"/>
              <a:gd name="connsiteY37" fmla="*/ 8208 h 10000"/>
              <a:gd name="connsiteX38" fmla="*/ 5851 w 10000"/>
              <a:gd name="connsiteY38" fmla="*/ 8022 h 10000"/>
              <a:gd name="connsiteX39" fmla="*/ 5621 w 10000"/>
              <a:gd name="connsiteY39" fmla="*/ 7832 h 10000"/>
              <a:gd name="connsiteX40" fmla="*/ 5392 w 10000"/>
              <a:gd name="connsiteY40" fmla="*/ 7642 h 10000"/>
              <a:gd name="connsiteX41" fmla="*/ 5167 w 10000"/>
              <a:gd name="connsiteY41" fmla="*/ 7443 h 10000"/>
              <a:gd name="connsiteX42" fmla="*/ 5167 w 10000"/>
              <a:gd name="connsiteY42" fmla="*/ 7443 h 10000"/>
              <a:gd name="connsiteX43" fmla="*/ 4905 w 10000"/>
              <a:gd name="connsiteY43" fmla="*/ 7216 h 10000"/>
              <a:gd name="connsiteX44" fmla="*/ 4905 w 10000"/>
              <a:gd name="connsiteY44" fmla="*/ 7216 h 10000"/>
              <a:gd name="connsiteX45" fmla="*/ 4995 w 10000"/>
              <a:gd name="connsiteY45" fmla="*/ 7040 h 10000"/>
              <a:gd name="connsiteX46" fmla="*/ 5077 w 10000"/>
              <a:gd name="connsiteY46" fmla="*/ 6864 h 10000"/>
              <a:gd name="connsiteX47" fmla="*/ 5077 w 10000"/>
              <a:gd name="connsiteY47" fmla="*/ 6864 h 10000"/>
              <a:gd name="connsiteX48" fmla="*/ 5113 w 10000"/>
              <a:gd name="connsiteY48" fmla="*/ 6781 h 10000"/>
              <a:gd name="connsiteX49" fmla="*/ 5144 w 10000"/>
              <a:gd name="connsiteY49" fmla="*/ 6693 h 10000"/>
              <a:gd name="connsiteX50" fmla="*/ 5176 w 10000"/>
              <a:gd name="connsiteY50" fmla="*/ 6605 h 10000"/>
              <a:gd name="connsiteX51" fmla="*/ 5203 w 10000"/>
              <a:gd name="connsiteY51" fmla="*/ 6517 h 10000"/>
              <a:gd name="connsiteX52" fmla="*/ 5225 w 10000"/>
              <a:gd name="connsiteY52" fmla="*/ 6424 h 10000"/>
              <a:gd name="connsiteX53" fmla="*/ 5243 w 10000"/>
              <a:gd name="connsiteY53" fmla="*/ 6336 h 10000"/>
              <a:gd name="connsiteX54" fmla="*/ 5252 w 10000"/>
              <a:gd name="connsiteY54" fmla="*/ 6244 h 10000"/>
              <a:gd name="connsiteX55" fmla="*/ 5261 w 10000"/>
              <a:gd name="connsiteY55" fmla="*/ 6146 h 10000"/>
              <a:gd name="connsiteX56" fmla="*/ 5261 w 10000"/>
              <a:gd name="connsiteY56" fmla="*/ 6146 h 10000"/>
              <a:gd name="connsiteX57" fmla="*/ 5266 w 10000"/>
              <a:gd name="connsiteY57" fmla="*/ 6040 h 10000"/>
              <a:gd name="connsiteX58" fmla="*/ 5257 w 10000"/>
              <a:gd name="connsiteY58" fmla="*/ 5933 h 10000"/>
              <a:gd name="connsiteX59" fmla="*/ 5243 w 10000"/>
              <a:gd name="connsiteY59" fmla="*/ 5831 h 10000"/>
              <a:gd name="connsiteX60" fmla="*/ 5221 w 10000"/>
              <a:gd name="connsiteY60" fmla="*/ 5730 h 10000"/>
              <a:gd name="connsiteX61" fmla="*/ 5189 w 10000"/>
              <a:gd name="connsiteY61" fmla="*/ 5632 h 10000"/>
              <a:gd name="connsiteX62" fmla="*/ 5149 w 10000"/>
              <a:gd name="connsiteY62" fmla="*/ 5535 h 10000"/>
              <a:gd name="connsiteX63" fmla="*/ 5099 w 10000"/>
              <a:gd name="connsiteY63" fmla="*/ 5442 h 10000"/>
              <a:gd name="connsiteX64" fmla="*/ 5045 w 10000"/>
              <a:gd name="connsiteY64" fmla="*/ 5350 h 10000"/>
              <a:gd name="connsiteX65" fmla="*/ 5045 w 10000"/>
              <a:gd name="connsiteY65" fmla="*/ 5350 h 10000"/>
              <a:gd name="connsiteX66" fmla="*/ 4986 w 10000"/>
              <a:gd name="connsiteY66" fmla="*/ 5266 h 10000"/>
              <a:gd name="connsiteX67" fmla="*/ 4923 w 10000"/>
              <a:gd name="connsiteY67" fmla="*/ 5183 h 10000"/>
              <a:gd name="connsiteX68" fmla="*/ 4856 w 10000"/>
              <a:gd name="connsiteY68" fmla="*/ 5109 h 10000"/>
              <a:gd name="connsiteX69" fmla="*/ 4784 w 10000"/>
              <a:gd name="connsiteY69" fmla="*/ 5035 h 10000"/>
              <a:gd name="connsiteX70" fmla="*/ 4707 w 10000"/>
              <a:gd name="connsiteY70" fmla="*/ 4965 h 10000"/>
              <a:gd name="connsiteX71" fmla="*/ 4631 w 10000"/>
              <a:gd name="connsiteY71" fmla="*/ 4900 h 10000"/>
              <a:gd name="connsiteX72" fmla="*/ 4550 w 10000"/>
              <a:gd name="connsiteY72" fmla="*/ 4836 h 10000"/>
              <a:gd name="connsiteX73" fmla="*/ 4469 w 10000"/>
              <a:gd name="connsiteY73" fmla="*/ 4775 h 10000"/>
              <a:gd name="connsiteX74" fmla="*/ 4469 w 10000"/>
              <a:gd name="connsiteY74" fmla="*/ 4775 h 10000"/>
              <a:gd name="connsiteX75" fmla="*/ 4347 w 10000"/>
              <a:gd name="connsiteY75" fmla="*/ 4687 h 10000"/>
              <a:gd name="connsiteX76" fmla="*/ 4226 w 10000"/>
              <a:gd name="connsiteY76" fmla="*/ 4609 h 10000"/>
              <a:gd name="connsiteX77" fmla="*/ 4104 w 10000"/>
              <a:gd name="connsiteY77" fmla="*/ 4530 h 10000"/>
              <a:gd name="connsiteX78" fmla="*/ 3978 w 10000"/>
              <a:gd name="connsiteY78" fmla="*/ 4456 h 10000"/>
              <a:gd name="connsiteX79" fmla="*/ 3852 w 10000"/>
              <a:gd name="connsiteY79" fmla="*/ 4386 h 10000"/>
              <a:gd name="connsiteX80" fmla="*/ 3722 w 10000"/>
              <a:gd name="connsiteY80" fmla="*/ 4317 h 10000"/>
              <a:gd name="connsiteX81" fmla="*/ 3591 w 10000"/>
              <a:gd name="connsiteY81" fmla="*/ 4252 h 10000"/>
              <a:gd name="connsiteX82" fmla="*/ 3461 w 10000"/>
              <a:gd name="connsiteY82" fmla="*/ 4187 h 10000"/>
              <a:gd name="connsiteX83" fmla="*/ 3461 w 10000"/>
              <a:gd name="connsiteY83" fmla="*/ 4187 h 10000"/>
              <a:gd name="connsiteX84" fmla="*/ 3029 w 10000"/>
              <a:gd name="connsiteY84" fmla="*/ 3993 h 10000"/>
              <a:gd name="connsiteX85" fmla="*/ 2601 w 10000"/>
              <a:gd name="connsiteY85" fmla="*/ 3798 h 10000"/>
              <a:gd name="connsiteX86" fmla="*/ 1742 w 10000"/>
              <a:gd name="connsiteY86" fmla="*/ 3414 h 10000"/>
              <a:gd name="connsiteX87" fmla="*/ 1742 w 10000"/>
              <a:gd name="connsiteY87" fmla="*/ 3414 h 10000"/>
              <a:gd name="connsiteX88" fmla="*/ 1598 w 10000"/>
              <a:gd name="connsiteY88" fmla="*/ 3349 h 10000"/>
              <a:gd name="connsiteX89" fmla="*/ 1454 w 10000"/>
              <a:gd name="connsiteY89" fmla="*/ 3279 h 10000"/>
              <a:gd name="connsiteX90" fmla="*/ 1314 w 10000"/>
              <a:gd name="connsiteY90" fmla="*/ 3205 h 10000"/>
              <a:gd name="connsiteX91" fmla="*/ 1179 w 10000"/>
              <a:gd name="connsiteY91" fmla="*/ 3126 h 10000"/>
              <a:gd name="connsiteX92" fmla="*/ 1049 w 10000"/>
              <a:gd name="connsiteY92" fmla="*/ 3038 h 10000"/>
              <a:gd name="connsiteX93" fmla="*/ 923 w 10000"/>
              <a:gd name="connsiteY93" fmla="*/ 2946 h 10000"/>
              <a:gd name="connsiteX94" fmla="*/ 797 w 10000"/>
              <a:gd name="connsiteY94" fmla="*/ 2849 h 10000"/>
              <a:gd name="connsiteX95" fmla="*/ 680 w 10000"/>
              <a:gd name="connsiteY95" fmla="*/ 2742 h 10000"/>
              <a:gd name="connsiteX96" fmla="*/ 680 w 10000"/>
              <a:gd name="connsiteY96" fmla="*/ 2742 h 10000"/>
              <a:gd name="connsiteX97" fmla="*/ 590 w 10000"/>
              <a:gd name="connsiteY97" fmla="*/ 2649 h 10000"/>
              <a:gd name="connsiteX98" fmla="*/ 504 w 10000"/>
              <a:gd name="connsiteY98" fmla="*/ 2557 h 10000"/>
              <a:gd name="connsiteX99" fmla="*/ 423 w 10000"/>
              <a:gd name="connsiteY99" fmla="*/ 2459 h 10000"/>
              <a:gd name="connsiteX100" fmla="*/ 356 w 10000"/>
              <a:gd name="connsiteY100" fmla="*/ 2362 h 10000"/>
              <a:gd name="connsiteX101" fmla="*/ 288 w 10000"/>
              <a:gd name="connsiteY101" fmla="*/ 2260 h 10000"/>
              <a:gd name="connsiteX102" fmla="*/ 230 w 10000"/>
              <a:gd name="connsiteY102" fmla="*/ 2154 h 10000"/>
              <a:gd name="connsiteX103" fmla="*/ 180 w 10000"/>
              <a:gd name="connsiteY103" fmla="*/ 2047 h 10000"/>
              <a:gd name="connsiteX104" fmla="*/ 131 w 10000"/>
              <a:gd name="connsiteY104" fmla="*/ 1941 h 10000"/>
              <a:gd name="connsiteX105" fmla="*/ 95 w 10000"/>
              <a:gd name="connsiteY105" fmla="*/ 1830 h 10000"/>
              <a:gd name="connsiteX106" fmla="*/ 63 w 10000"/>
              <a:gd name="connsiteY106" fmla="*/ 1714 h 10000"/>
              <a:gd name="connsiteX107" fmla="*/ 36 w 10000"/>
              <a:gd name="connsiteY107" fmla="*/ 1593 h 10000"/>
              <a:gd name="connsiteX108" fmla="*/ 18 w 10000"/>
              <a:gd name="connsiteY108" fmla="*/ 1473 h 10000"/>
              <a:gd name="connsiteX109" fmla="*/ 5 w 10000"/>
              <a:gd name="connsiteY109" fmla="*/ 1352 h 10000"/>
              <a:gd name="connsiteX110" fmla="*/ 0 w 10000"/>
              <a:gd name="connsiteY110" fmla="*/ 1227 h 10000"/>
              <a:gd name="connsiteX111" fmla="*/ 0 w 10000"/>
              <a:gd name="connsiteY111" fmla="*/ 1098 h 10000"/>
              <a:gd name="connsiteX112" fmla="*/ 9 w 10000"/>
              <a:gd name="connsiteY112" fmla="*/ 968 h 10000"/>
              <a:gd name="connsiteX113" fmla="*/ 9 w 10000"/>
              <a:gd name="connsiteY113" fmla="*/ 968 h 10000"/>
              <a:gd name="connsiteX114" fmla="*/ 23 w 10000"/>
              <a:gd name="connsiteY114" fmla="*/ 848 h 10000"/>
              <a:gd name="connsiteX115" fmla="*/ 41 w 10000"/>
              <a:gd name="connsiteY115" fmla="*/ 727 h 10000"/>
              <a:gd name="connsiteX116" fmla="*/ 68 w 10000"/>
              <a:gd name="connsiteY116" fmla="*/ 607 h 10000"/>
              <a:gd name="connsiteX117" fmla="*/ 95 w 10000"/>
              <a:gd name="connsiteY117" fmla="*/ 491 h 10000"/>
              <a:gd name="connsiteX118" fmla="*/ 131 w 10000"/>
              <a:gd name="connsiteY118" fmla="*/ 375 h 10000"/>
              <a:gd name="connsiteX119" fmla="*/ 171 w 10000"/>
              <a:gd name="connsiteY119" fmla="*/ 259 h 10000"/>
              <a:gd name="connsiteX120" fmla="*/ 212 w 10000"/>
              <a:gd name="connsiteY120" fmla="*/ 148 h 10000"/>
              <a:gd name="connsiteX121" fmla="*/ 266 w 10000"/>
              <a:gd name="connsiteY121" fmla="*/ 37 h 10000"/>
              <a:gd name="connsiteX122" fmla="*/ 266 w 10000"/>
              <a:gd name="connsiteY122" fmla="*/ 37 h 10000"/>
              <a:gd name="connsiteX123" fmla="*/ 275 w 10000"/>
              <a:gd name="connsiteY123" fmla="*/ 0 h 10000"/>
              <a:gd name="connsiteX124" fmla="*/ 275 w 10000"/>
              <a:gd name="connsiteY124" fmla="*/ 0 h 10000"/>
              <a:gd name="connsiteX0" fmla="*/ 275 w 10000"/>
              <a:gd name="connsiteY0" fmla="*/ 0 h 10000"/>
              <a:gd name="connsiteX1" fmla="*/ 275 w 10000"/>
              <a:gd name="connsiteY1" fmla="*/ 0 h 10000"/>
              <a:gd name="connsiteX2" fmla="*/ 10000 w 10000"/>
              <a:gd name="connsiteY2" fmla="*/ 0 h 10000"/>
              <a:gd name="connsiteX3" fmla="*/ 10000 w 10000"/>
              <a:gd name="connsiteY3" fmla="*/ 0 h 10000"/>
              <a:gd name="connsiteX4" fmla="*/ 10000 w 10000"/>
              <a:gd name="connsiteY4" fmla="*/ 74 h 10000"/>
              <a:gd name="connsiteX5" fmla="*/ 10000 w 10000"/>
              <a:gd name="connsiteY5" fmla="*/ 74 h 10000"/>
              <a:gd name="connsiteX6" fmla="*/ 10000 w 10000"/>
              <a:gd name="connsiteY6" fmla="*/ 9893 h 10000"/>
              <a:gd name="connsiteX7" fmla="*/ 10000 w 10000"/>
              <a:gd name="connsiteY7" fmla="*/ 9893 h 10000"/>
              <a:gd name="connsiteX8" fmla="*/ 10000 w 10000"/>
              <a:gd name="connsiteY8" fmla="*/ 9940 h 10000"/>
              <a:gd name="connsiteX9" fmla="*/ 10000 w 10000"/>
              <a:gd name="connsiteY9" fmla="*/ 9940 h 10000"/>
              <a:gd name="connsiteX10" fmla="*/ 10000 w 10000"/>
              <a:gd name="connsiteY10" fmla="*/ 9958 h 10000"/>
              <a:gd name="connsiteX11" fmla="*/ 9991 w 10000"/>
              <a:gd name="connsiteY11" fmla="*/ 9972 h 10000"/>
              <a:gd name="connsiteX12" fmla="*/ 9982 w 10000"/>
              <a:gd name="connsiteY12" fmla="*/ 9981 h 10000"/>
              <a:gd name="connsiteX13" fmla="*/ 9959 w 10000"/>
              <a:gd name="connsiteY13" fmla="*/ 9991 h 10000"/>
              <a:gd name="connsiteX14" fmla="*/ 9959 w 10000"/>
              <a:gd name="connsiteY14" fmla="*/ 9991 h 10000"/>
              <a:gd name="connsiteX15" fmla="*/ 9905 w 10000"/>
              <a:gd name="connsiteY15" fmla="*/ 9995 h 10000"/>
              <a:gd name="connsiteX16" fmla="*/ 9847 w 10000"/>
              <a:gd name="connsiteY16" fmla="*/ 10000 h 10000"/>
              <a:gd name="connsiteX17" fmla="*/ 9734 w 10000"/>
              <a:gd name="connsiteY17" fmla="*/ 10000 h 10000"/>
              <a:gd name="connsiteX18" fmla="*/ 9626 w 10000"/>
              <a:gd name="connsiteY18" fmla="*/ 9995 h 10000"/>
              <a:gd name="connsiteX19" fmla="*/ 9514 w 10000"/>
              <a:gd name="connsiteY19" fmla="*/ 9981 h 10000"/>
              <a:gd name="connsiteX20" fmla="*/ 9514 w 10000"/>
              <a:gd name="connsiteY20" fmla="*/ 9981 h 10000"/>
              <a:gd name="connsiteX21" fmla="*/ 9397 w 10000"/>
              <a:gd name="connsiteY21" fmla="*/ 9963 h 10000"/>
              <a:gd name="connsiteX22" fmla="*/ 9284 w 10000"/>
              <a:gd name="connsiteY22" fmla="*/ 9944 h 10000"/>
              <a:gd name="connsiteX23" fmla="*/ 9172 w 10000"/>
              <a:gd name="connsiteY23" fmla="*/ 9917 h 10000"/>
              <a:gd name="connsiteX24" fmla="*/ 9059 w 10000"/>
              <a:gd name="connsiteY24" fmla="*/ 9889 h 10000"/>
              <a:gd name="connsiteX25" fmla="*/ 8951 w 10000"/>
              <a:gd name="connsiteY25" fmla="*/ 9856 h 10000"/>
              <a:gd name="connsiteX26" fmla="*/ 8839 w 10000"/>
              <a:gd name="connsiteY26" fmla="*/ 9819 h 10000"/>
              <a:gd name="connsiteX27" fmla="*/ 8623 w 10000"/>
              <a:gd name="connsiteY27" fmla="*/ 9741 h 10000"/>
              <a:gd name="connsiteX28" fmla="*/ 8623 w 10000"/>
              <a:gd name="connsiteY28" fmla="*/ 9741 h 10000"/>
              <a:gd name="connsiteX29" fmla="*/ 8416 w 10000"/>
              <a:gd name="connsiteY29" fmla="*/ 9657 h 10000"/>
              <a:gd name="connsiteX30" fmla="*/ 8213 w 10000"/>
              <a:gd name="connsiteY30" fmla="*/ 9565 h 10000"/>
              <a:gd name="connsiteX31" fmla="*/ 8015 w 10000"/>
              <a:gd name="connsiteY31" fmla="*/ 9467 h 10000"/>
              <a:gd name="connsiteX32" fmla="*/ 7052 w 10000"/>
              <a:gd name="connsiteY32" fmla="*/ 8902 h 10000"/>
              <a:gd name="connsiteX33" fmla="*/ 6805 w 10000"/>
              <a:gd name="connsiteY33" fmla="*/ 8736 h 10000"/>
              <a:gd name="connsiteX34" fmla="*/ 6562 w 10000"/>
              <a:gd name="connsiteY34" fmla="*/ 8564 h 10000"/>
              <a:gd name="connsiteX35" fmla="*/ 6319 w 10000"/>
              <a:gd name="connsiteY35" fmla="*/ 8388 h 10000"/>
              <a:gd name="connsiteX36" fmla="*/ 6085 w 10000"/>
              <a:gd name="connsiteY36" fmla="*/ 8208 h 10000"/>
              <a:gd name="connsiteX37" fmla="*/ 5851 w 10000"/>
              <a:gd name="connsiteY37" fmla="*/ 8022 h 10000"/>
              <a:gd name="connsiteX38" fmla="*/ 5621 w 10000"/>
              <a:gd name="connsiteY38" fmla="*/ 7832 h 10000"/>
              <a:gd name="connsiteX39" fmla="*/ 5392 w 10000"/>
              <a:gd name="connsiteY39" fmla="*/ 7642 h 10000"/>
              <a:gd name="connsiteX40" fmla="*/ 5167 w 10000"/>
              <a:gd name="connsiteY40" fmla="*/ 7443 h 10000"/>
              <a:gd name="connsiteX41" fmla="*/ 5167 w 10000"/>
              <a:gd name="connsiteY41" fmla="*/ 7443 h 10000"/>
              <a:gd name="connsiteX42" fmla="*/ 4905 w 10000"/>
              <a:gd name="connsiteY42" fmla="*/ 7216 h 10000"/>
              <a:gd name="connsiteX43" fmla="*/ 4905 w 10000"/>
              <a:gd name="connsiteY43" fmla="*/ 7216 h 10000"/>
              <a:gd name="connsiteX44" fmla="*/ 4995 w 10000"/>
              <a:gd name="connsiteY44" fmla="*/ 7040 h 10000"/>
              <a:gd name="connsiteX45" fmla="*/ 5077 w 10000"/>
              <a:gd name="connsiteY45" fmla="*/ 6864 h 10000"/>
              <a:gd name="connsiteX46" fmla="*/ 5077 w 10000"/>
              <a:gd name="connsiteY46" fmla="*/ 6864 h 10000"/>
              <a:gd name="connsiteX47" fmla="*/ 5113 w 10000"/>
              <a:gd name="connsiteY47" fmla="*/ 6781 h 10000"/>
              <a:gd name="connsiteX48" fmla="*/ 5144 w 10000"/>
              <a:gd name="connsiteY48" fmla="*/ 6693 h 10000"/>
              <a:gd name="connsiteX49" fmla="*/ 5176 w 10000"/>
              <a:gd name="connsiteY49" fmla="*/ 6605 h 10000"/>
              <a:gd name="connsiteX50" fmla="*/ 5203 w 10000"/>
              <a:gd name="connsiteY50" fmla="*/ 6517 h 10000"/>
              <a:gd name="connsiteX51" fmla="*/ 5225 w 10000"/>
              <a:gd name="connsiteY51" fmla="*/ 6424 h 10000"/>
              <a:gd name="connsiteX52" fmla="*/ 5243 w 10000"/>
              <a:gd name="connsiteY52" fmla="*/ 6336 h 10000"/>
              <a:gd name="connsiteX53" fmla="*/ 5252 w 10000"/>
              <a:gd name="connsiteY53" fmla="*/ 6244 h 10000"/>
              <a:gd name="connsiteX54" fmla="*/ 5261 w 10000"/>
              <a:gd name="connsiteY54" fmla="*/ 6146 h 10000"/>
              <a:gd name="connsiteX55" fmla="*/ 5261 w 10000"/>
              <a:gd name="connsiteY55" fmla="*/ 6146 h 10000"/>
              <a:gd name="connsiteX56" fmla="*/ 5266 w 10000"/>
              <a:gd name="connsiteY56" fmla="*/ 6040 h 10000"/>
              <a:gd name="connsiteX57" fmla="*/ 5257 w 10000"/>
              <a:gd name="connsiteY57" fmla="*/ 5933 h 10000"/>
              <a:gd name="connsiteX58" fmla="*/ 5243 w 10000"/>
              <a:gd name="connsiteY58" fmla="*/ 5831 h 10000"/>
              <a:gd name="connsiteX59" fmla="*/ 5221 w 10000"/>
              <a:gd name="connsiteY59" fmla="*/ 5730 h 10000"/>
              <a:gd name="connsiteX60" fmla="*/ 5189 w 10000"/>
              <a:gd name="connsiteY60" fmla="*/ 5632 h 10000"/>
              <a:gd name="connsiteX61" fmla="*/ 5149 w 10000"/>
              <a:gd name="connsiteY61" fmla="*/ 5535 h 10000"/>
              <a:gd name="connsiteX62" fmla="*/ 5099 w 10000"/>
              <a:gd name="connsiteY62" fmla="*/ 5442 h 10000"/>
              <a:gd name="connsiteX63" fmla="*/ 5045 w 10000"/>
              <a:gd name="connsiteY63" fmla="*/ 5350 h 10000"/>
              <a:gd name="connsiteX64" fmla="*/ 5045 w 10000"/>
              <a:gd name="connsiteY64" fmla="*/ 5350 h 10000"/>
              <a:gd name="connsiteX65" fmla="*/ 4986 w 10000"/>
              <a:gd name="connsiteY65" fmla="*/ 5266 h 10000"/>
              <a:gd name="connsiteX66" fmla="*/ 4923 w 10000"/>
              <a:gd name="connsiteY66" fmla="*/ 5183 h 10000"/>
              <a:gd name="connsiteX67" fmla="*/ 4856 w 10000"/>
              <a:gd name="connsiteY67" fmla="*/ 5109 h 10000"/>
              <a:gd name="connsiteX68" fmla="*/ 4784 w 10000"/>
              <a:gd name="connsiteY68" fmla="*/ 5035 h 10000"/>
              <a:gd name="connsiteX69" fmla="*/ 4707 w 10000"/>
              <a:gd name="connsiteY69" fmla="*/ 4965 h 10000"/>
              <a:gd name="connsiteX70" fmla="*/ 4631 w 10000"/>
              <a:gd name="connsiteY70" fmla="*/ 4900 h 10000"/>
              <a:gd name="connsiteX71" fmla="*/ 4550 w 10000"/>
              <a:gd name="connsiteY71" fmla="*/ 4836 h 10000"/>
              <a:gd name="connsiteX72" fmla="*/ 4469 w 10000"/>
              <a:gd name="connsiteY72" fmla="*/ 4775 h 10000"/>
              <a:gd name="connsiteX73" fmla="*/ 4469 w 10000"/>
              <a:gd name="connsiteY73" fmla="*/ 4775 h 10000"/>
              <a:gd name="connsiteX74" fmla="*/ 4347 w 10000"/>
              <a:gd name="connsiteY74" fmla="*/ 4687 h 10000"/>
              <a:gd name="connsiteX75" fmla="*/ 4226 w 10000"/>
              <a:gd name="connsiteY75" fmla="*/ 4609 h 10000"/>
              <a:gd name="connsiteX76" fmla="*/ 4104 w 10000"/>
              <a:gd name="connsiteY76" fmla="*/ 4530 h 10000"/>
              <a:gd name="connsiteX77" fmla="*/ 3978 w 10000"/>
              <a:gd name="connsiteY77" fmla="*/ 4456 h 10000"/>
              <a:gd name="connsiteX78" fmla="*/ 3852 w 10000"/>
              <a:gd name="connsiteY78" fmla="*/ 4386 h 10000"/>
              <a:gd name="connsiteX79" fmla="*/ 3722 w 10000"/>
              <a:gd name="connsiteY79" fmla="*/ 4317 h 10000"/>
              <a:gd name="connsiteX80" fmla="*/ 3591 w 10000"/>
              <a:gd name="connsiteY80" fmla="*/ 4252 h 10000"/>
              <a:gd name="connsiteX81" fmla="*/ 3461 w 10000"/>
              <a:gd name="connsiteY81" fmla="*/ 4187 h 10000"/>
              <a:gd name="connsiteX82" fmla="*/ 3461 w 10000"/>
              <a:gd name="connsiteY82" fmla="*/ 4187 h 10000"/>
              <a:gd name="connsiteX83" fmla="*/ 3029 w 10000"/>
              <a:gd name="connsiteY83" fmla="*/ 3993 h 10000"/>
              <a:gd name="connsiteX84" fmla="*/ 2601 w 10000"/>
              <a:gd name="connsiteY84" fmla="*/ 3798 h 10000"/>
              <a:gd name="connsiteX85" fmla="*/ 1742 w 10000"/>
              <a:gd name="connsiteY85" fmla="*/ 3414 h 10000"/>
              <a:gd name="connsiteX86" fmla="*/ 1742 w 10000"/>
              <a:gd name="connsiteY86" fmla="*/ 3414 h 10000"/>
              <a:gd name="connsiteX87" fmla="*/ 1598 w 10000"/>
              <a:gd name="connsiteY87" fmla="*/ 3349 h 10000"/>
              <a:gd name="connsiteX88" fmla="*/ 1454 w 10000"/>
              <a:gd name="connsiteY88" fmla="*/ 3279 h 10000"/>
              <a:gd name="connsiteX89" fmla="*/ 1314 w 10000"/>
              <a:gd name="connsiteY89" fmla="*/ 3205 h 10000"/>
              <a:gd name="connsiteX90" fmla="*/ 1179 w 10000"/>
              <a:gd name="connsiteY90" fmla="*/ 3126 h 10000"/>
              <a:gd name="connsiteX91" fmla="*/ 1049 w 10000"/>
              <a:gd name="connsiteY91" fmla="*/ 3038 h 10000"/>
              <a:gd name="connsiteX92" fmla="*/ 923 w 10000"/>
              <a:gd name="connsiteY92" fmla="*/ 2946 h 10000"/>
              <a:gd name="connsiteX93" fmla="*/ 797 w 10000"/>
              <a:gd name="connsiteY93" fmla="*/ 2849 h 10000"/>
              <a:gd name="connsiteX94" fmla="*/ 680 w 10000"/>
              <a:gd name="connsiteY94" fmla="*/ 2742 h 10000"/>
              <a:gd name="connsiteX95" fmla="*/ 680 w 10000"/>
              <a:gd name="connsiteY95" fmla="*/ 2742 h 10000"/>
              <a:gd name="connsiteX96" fmla="*/ 590 w 10000"/>
              <a:gd name="connsiteY96" fmla="*/ 2649 h 10000"/>
              <a:gd name="connsiteX97" fmla="*/ 504 w 10000"/>
              <a:gd name="connsiteY97" fmla="*/ 2557 h 10000"/>
              <a:gd name="connsiteX98" fmla="*/ 423 w 10000"/>
              <a:gd name="connsiteY98" fmla="*/ 2459 h 10000"/>
              <a:gd name="connsiteX99" fmla="*/ 356 w 10000"/>
              <a:gd name="connsiteY99" fmla="*/ 2362 h 10000"/>
              <a:gd name="connsiteX100" fmla="*/ 288 w 10000"/>
              <a:gd name="connsiteY100" fmla="*/ 2260 h 10000"/>
              <a:gd name="connsiteX101" fmla="*/ 230 w 10000"/>
              <a:gd name="connsiteY101" fmla="*/ 2154 h 10000"/>
              <a:gd name="connsiteX102" fmla="*/ 180 w 10000"/>
              <a:gd name="connsiteY102" fmla="*/ 2047 h 10000"/>
              <a:gd name="connsiteX103" fmla="*/ 131 w 10000"/>
              <a:gd name="connsiteY103" fmla="*/ 1941 h 10000"/>
              <a:gd name="connsiteX104" fmla="*/ 95 w 10000"/>
              <a:gd name="connsiteY104" fmla="*/ 1830 h 10000"/>
              <a:gd name="connsiteX105" fmla="*/ 63 w 10000"/>
              <a:gd name="connsiteY105" fmla="*/ 1714 h 10000"/>
              <a:gd name="connsiteX106" fmla="*/ 36 w 10000"/>
              <a:gd name="connsiteY106" fmla="*/ 1593 h 10000"/>
              <a:gd name="connsiteX107" fmla="*/ 18 w 10000"/>
              <a:gd name="connsiteY107" fmla="*/ 1473 h 10000"/>
              <a:gd name="connsiteX108" fmla="*/ 5 w 10000"/>
              <a:gd name="connsiteY108" fmla="*/ 1352 h 10000"/>
              <a:gd name="connsiteX109" fmla="*/ 0 w 10000"/>
              <a:gd name="connsiteY109" fmla="*/ 1227 h 10000"/>
              <a:gd name="connsiteX110" fmla="*/ 0 w 10000"/>
              <a:gd name="connsiteY110" fmla="*/ 1098 h 10000"/>
              <a:gd name="connsiteX111" fmla="*/ 9 w 10000"/>
              <a:gd name="connsiteY111" fmla="*/ 968 h 10000"/>
              <a:gd name="connsiteX112" fmla="*/ 9 w 10000"/>
              <a:gd name="connsiteY112" fmla="*/ 968 h 10000"/>
              <a:gd name="connsiteX113" fmla="*/ 23 w 10000"/>
              <a:gd name="connsiteY113" fmla="*/ 848 h 10000"/>
              <a:gd name="connsiteX114" fmla="*/ 41 w 10000"/>
              <a:gd name="connsiteY114" fmla="*/ 727 h 10000"/>
              <a:gd name="connsiteX115" fmla="*/ 68 w 10000"/>
              <a:gd name="connsiteY115" fmla="*/ 607 h 10000"/>
              <a:gd name="connsiteX116" fmla="*/ 95 w 10000"/>
              <a:gd name="connsiteY116" fmla="*/ 491 h 10000"/>
              <a:gd name="connsiteX117" fmla="*/ 131 w 10000"/>
              <a:gd name="connsiteY117" fmla="*/ 375 h 10000"/>
              <a:gd name="connsiteX118" fmla="*/ 171 w 10000"/>
              <a:gd name="connsiteY118" fmla="*/ 259 h 10000"/>
              <a:gd name="connsiteX119" fmla="*/ 212 w 10000"/>
              <a:gd name="connsiteY119" fmla="*/ 148 h 10000"/>
              <a:gd name="connsiteX120" fmla="*/ 266 w 10000"/>
              <a:gd name="connsiteY120" fmla="*/ 37 h 10000"/>
              <a:gd name="connsiteX121" fmla="*/ 266 w 10000"/>
              <a:gd name="connsiteY121" fmla="*/ 37 h 10000"/>
              <a:gd name="connsiteX122" fmla="*/ 275 w 10000"/>
              <a:gd name="connsiteY122" fmla="*/ 0 h 10000"/>
              <a:gd name="connsiteX123" fmla="*/ 275 w 10000"/>
              <a:gd name="connsiteY123" fmla="*/ 0 h 10000"/>
              <a:gd name="connsiteX0" fmla="*/ 275 w 10000"/>
              <a:gd name="connsiteY0" fmla="*/ 0 h 10000"/>
              <a:gd name="connsiteX1" fmla="*/ 275 w 10000"/>
              <a:gd name="connsiteY1" fmla="*/ 0 h 10000"/>
              <a:gd name="connsiteX2" fmla="*/ 10000 w 10000"/>
              <a:gd name="connsiteY2" fmla="*/ 0 h 10000"/>
              <a:gd name="connsiteX3" fmla="*/ 10000 w 10000"/>
              <a:gd name="connsiteY3" fmla="*/ 0 h 10000"/>
              <a:gd name="connsiteX4" fmla="*/ 10000 w 10000"/>
              <a:gd name="connsiteY4" fmla="*/ 74 h 10000"/>
              <a:gd name="connsiteX5" fmla="*/ 10000 w 10000"/>
              <a:gd name="connsiteY5" fmla="*/ 74 h 10000"/>
              <a:gd name="connsiteX6" fmla="*/ 10000 w 10000"/>
              <a:gd name="connsiteY6" fmla="*/ 9893 h 10000"/>
              <a:gd name="connsiteX7" fmla="*/ 10000 w 10000"/>
              <a:gd name="connsiteY7" fmla="*/ 9893 h 10000"/>
              <a:gd name="connsiteX8" fmla="*/ 10000 w 10000"/>
              <a:gd name="connsiteY8" fmla="*/ 9940 h 10000"/>
              <a:gd name="connsiteX9" fmla="*/ 10000 w 10000"/>
              <a:gd name="connsiteY9" fmla="*/ 9940 h 10000"/>
              <a:gd name="connsiteX10" fmla="*/ 10000 w 10000"/>
              <a:gd name="connsiteY10" fmla="*/ 9958 h 10000"/>
              <a:gd name="connsiteX11" fmla="*/ 9991 w 10000"/>
              <a:gd name="connsiteY11" fmla="*/ 9972 h 10000"/>
              <a:gd name="connsiteX12" fmla="*/ 9982 w 10000"/>
              <a:gd name="connsiteY12" fmla="*/ 9981 h 10000"/>
              <a:gd name="connsiteX13" fmla="*/ 9959 w 10000"/>
              <a:gd name="connsiteY13" fmla="*/ 9991 h 10000"/>
              <a:gd name="connsiteX14" fmla="*/ 9959 w 10000"/>
              <a:gd name="connsiteY14" fmla="*/ 9991 h 10000"/>
              <a:gd name="connsiteX15" fmla="*/ 9905 w 10000"/>
              <a:gd name="connsiteY15" fmla="*/ 9995 h 10000"/>
              <a:gd name="connsiteX16" fmla="*/ 9847 w 10000"/>
              <a:gd name="connsiteY16" fmla="*/ 10000 h 10000"/>
              <a:gd name="connsiteX17" fmla="*/ 9734 w 10000"/>
              <a:gd name="connsiteY17" fmla="*/ 10000 h 10000"/>
              <a:gd name="connsiteX18" fmla="*/ 9626 w 10000"/>
              <a:gd name="connsiteY18" fmla="*/ 9995 h 10000"/>
              <a:gd name="connsiteX19" fmla="*/ 9514 w 10000"/>
              <a:gd name="connsiteY19" fmla="*/ 9981 h 10000"/>
              <a:gd name="connsiteX20" fmla="*/ 9514 w 10000"/>
              <a:gd name="connsiteY20" fmla="*/ 9981 h 10000"/>
              <a:gd name="connsiteX21" fmla="*/ 9397 w 10000"/>
              <a:gd name="connsiteY21" fmla="*/ 9963 h 10000"/>
              <a:gd name="connsiteX22" fmla="*/ 9284 w 10000"/>
              <a:gd name="connsiteY22" fmla="*/ 9944 h 10000"/>
              <a:gd name="connsiteX23" fmla="*/ 9172 w 10000"/>
              <a:gd name="connsiteY23" fmla="*/ 9917 h 10000"/>
              <a:gd name="connsiteX24" fmla="*/ 9059 w 10000"/>
              <a:gd name="connsiteY24" fmla="*/ 9889 h 10000"/>
              <a:gd name="connsiteX25" fmla="*/ 8951 w 10000"/>
              <a:gd name="connsiteY25" fmla="*/ 9856 h 10000"/>
              <a:gd name="connsiteX26" fmla="*/ 8839 w 10000"/>
              <a:gd name="connsiteY26" fmla="*/ 9819 h 10000"/>
              <a:gd name="connsiteX27" fmla="*/ 8623 w 10000"/>
              <a:gd name="connsiteY27" fmla="*/ 9741 h 10000"/>
              <a:gd name="connsiteX28" fmla="*/ 8623 w 10000"/>
              <a:gd name="connsiteY28" fmla="*/ 9741 h 10000"/>
              <a:gd name="connsiteX29" fmla="*/ 8416 w 10000"/>
              <a:gd name="connsiteY29" fmla="*/ 9657 h 10000"/>
              <a:gd name="connsiteX30" fmla="*/ 8213 w 10000"/>
              <a:gd name="connsiteY30" fmla="*/ 9565 h 10000"/>
              <a:gd name="connsiteX31" fmla="*/ 7052 w 10000"/>
              <a:gd name="connsiteY31" fmla="*/ 8902 h 10000"/>
              <a:gd name="connsiteX32" fmla="*/ 6805 w 10000"/>
              <a:gd name="connsiteY32" fmla="*/ 8736 h 10000"/>
              <a:gd name="connsiteX33" fmla="*/ 6562 w 10000"/>
              <a:gd name="connsiteY33" fmla="*/ 8564 h 10000"/>
              <a:gd name="connsiteX34" fmla="*/ 6319 w 10000"/>
              <a:gd name="connsiteY34" fmla="*/ 8388 h 10000"/>
              <a:gd name="connsiteX35" fmla="*/ 6085 w 10000"/>
              <a:gd name="connsiteY35" fmla="*/ 8208 h 10000"/>
              <a:gd name="connsiteX36" fmla="*/ 5851 w 10000"/>
              <a:gd name="connsiteY36" fmla="*/ 8022 h 10000"/>
              <a:gd name="connsiteX37" fmla="*/ 5621 w 10000"/>
              <a:gd name="connsiteY37" fmla="*/ 7832 h 10000"/>
              <a:gd name="connsiteX38" fmla="*/ 5392 w 10000"/>
              <a:gd name="connsiteY38" fmla="*/ 7642 h 10000"/>
              <a:gd name="connsiteX39" fmla="*/ 5167 w 10000"/>
              <a:gd name="connsiteY39" fmla="*/ 7443 h 10000"/>
              <a:gd name="connsiteX40" fmla="*/ 5167 w 10000"/>
              <a:gd name="connsiteY40" fmla="*/ 7443 h 10000"/>
              <a:gd name="connsiteX41" fmla="*/ 4905 w 10000"/>
              <a:gd name="connsiteY41" fmla="*/ 7216 h 10000"/>
              <a:gd name="connsiteX42" fmla="*/ 4905 w 10000"/>
              <a:gd name="connsiteY42" fmla="*/ 7216 h 10000"/>
              <a:gd name="connsiteX43" fmla="*/ 4995 w 10000"/>
              <a:gd name="connsiteY43" fmla="*/ 7040 h 10000"/>
              <a:gd name="connsiteX44" fmla="*/ 5077 w 10000"/>
              <a:gd name="connsiteY44" fmla="*/ 6864 h 10000"/>
              <a:gd name="connsiteX45" fmla="*/ 5077 w 10000"/>
              <a:gd name="connsiteY45" fmla="*/ 6864 h 10000"/>
              <a:gd name="connsiteX46" fmla="*/ 5113 w 10000"/>
              <a:gd name="connsiteY46" fmla="*/ 6781 h 10000"/>
              <a:gd name="connsiteX47" fmla="*/ 5144 w 10000"/>
              <a:gd name="connsiteY47" fmla="*/ 6693 h 10000"/>
              <a:gd name="connsiteX48" fmla="*/ 5176 w 10000"/>
              <a:gd name="connsiteY48" fmla="*/ 6605 h 10000"/>
              <a:gd name="connsiteX49" fmla="*/ 5203 w 10000"/>
              <a:gd name="connsiteY49" fmla="*/ 6517 h 10000"/>
              <a:gd name="connsiteX50" fmla="*/ 5225 w 10000"/>
              <a:gd name="connsiteY50" fmla="*/ 6424 h 10000"/>
              <a:gd name="connsiteX51" fmla="*/ 5243 w 10000"/>
              <a:gd name="connsiteY51" fmla="*/ 6336 h 10000"/>
              <a:gd name="connsiteX52" fmla="*/ 5252 w 10000"/>
              <a:gd name="connsiteY52" fmla="*/ 6244 h 10000"/>
              <a:gd name="connsiteX53" fmla="*/ 5261 w 10000"/>
              <a:gd name="connsiteY53" fmla="*/ 6146 h 10000"/>
              <a:gd name="connsiteX54" fmla="*/ 5261 w 10000"/>
              <a:gd name="connsiteY54" fmla="*/ 6146 h 10000"/>
              <a:gd name="connsiteX55" fmla="*/ 5266 w 10000"/>
              <a:gd name="connsiteY55" fmla="*/ 6040 h 10000"/>
              <a:gd name="connsiteX56" fmla="*/ 5257 w 10000"/>
              <a:gd name="connsiteY56" fmla="*/ 5933 h 10000"/>
              <a:gd name="connsiteX57" fmla="*/ 5243 w 10000"/>
              <a:gd name="connsiteY57" fmla="*/ 5831 h 10000"/>
              <a:gd name="connsiteX58" fmla="*/ 5221 w 10000"/>
              <a:gd name="connsiteY58" fmla="*/ 5730 h 10000"/>
              <a:gd name="connsiteX59" fmla="*/ 5189 w 10000"/>
              <a:gd name="connsiteY59" fmla="*/ 5632 h 10000"/>
              <a:gd name="connsiteX60" fmla="*/ 5149 w 10000"/>
              <a:gd name="connsiteY60" fmla="*/ 5535 h 10000"/>
              <a:gd name="connsiteX61" fmla="*/ 5099 w 10000"/>
              <a:gd name="connsiteY61" fmla="*/ 5442 h 10000"/>
              <a:gd name="connsiteX62" fmla="*/ 5045 w 10000"/>
              <a:gd name="connsiteY62" fmla="*/ 5350 h 10000"/>
              <a:gd name="connsiteX63" fmla="*/ 5045 w 10000"/>
              <a:gd name="connsiteY63" fmla="*/ 5350 h 10000"/>
              <a:gd name="connsiteX64" fmla="*/ 4986 w 10000"/>
              <a:gd name="connsiteY64" fmla="*/ 5266 h 10000"/>
              <a:gd name="connsiteX65" fmla="*/ 4923 w 10000"/>
              <a:gd name="connsiteY65" fmla="*/ 5183 h 10000"/>
              <a:gd name="connsiteX66" fmla="*/ 4856 w 10000"/>
              <a:gd name="connsiteY66" fmla="*/ 5109 h 10000"/>
              <a:gd name="connsiteX67" fmla="*/ 4784 w 10000"/>
              <a:gd name="connsiteY67" fmla="*/ 5035 h 10000"/>
              <a:gd name="connsiteX68" fmla="*/ 4707 w 10000"/>
              <a:gd name="connsiteY68" fmla="*/ 4965 h 10000"/>
              <a:gd name="connsiteX69" fmla="*/ 4631 w 10000"/>
              <a:gd name="connsiteY69" fmla="*/ 4900 h 10000"/>
              <a:gd name="connsiteX70" fmla="*/ 4550 w 10000"/>
              <a:gd name="connsiteY70" fmla="*/ 4836 h 10000"/>
              <a:gd name="connsiteX71" fmla="*/ 4469 w 10000"/>
              <a:gd name="connsiteY71" fmla="*/ 4775 h 10000"/>
              <a:gd name="connsiteX72" fmla="*/ 4469 w 10000"/>
              <a:gd name="connsiteY72" fmla="*/ 4775 h 10000"/>
              <a:gd name="connsiteX73" fmla="*/ 4347 w 10000"/>
              <a:gd name="connsiteY73" fmla="*/ 4687 h 10000"/>
              <a:gd name="connsiteX74" fmla="*/ 4226 w 10000"/>
              <a:gd name="connsiteY74" fmla="*/ 4609 h 10000"/>
              <a:gd name="connsiteX75" fmla="*/ 4104 w 10000"/>
              <a:gd name="connsiteY75" fmla="*/ 4530 h 10000"/>
              <a:gd name="connsiteX76" fmla="*/ 3978 w 10000"/>
              <a:gd name="connsiteY76" fmla="*/ 4456 h 10000"/>
              <a:gd name="connsiteX77" fmla="*/ 3852 w 10000"/>
              <a:gd name="connsiteY77" fmla="*/ 4386 h 10000"/>
              <a:gd name="connsiteX78" fmla="*/ 3722 w 10000"/>
              <a:gd name="connsiteY78" fmla="*/ 4317 h 10000"/>
              <a:gd name="connsiteX79" fmla="*/ 3591 w 10000"/>
              <a:gd name="connsiteY79" fmla="*/ 4252 h 10000"/>
              <a:gd name="connsiteX80" fmla="*/ 3461 w 10000"/>
              <a:gd name="connsiteY80" fmla="*/ 4187 h 10000"/>
              <a:gd name="connsiteX81" fmla="*/ 3461 w 10000"/>
              <a:gd name="connsiteY81" fmla="*/ 4187 h 10000"/>
              <a:gd name="connsiteX82" fmla="*/ 3029 w 10000"/>
              <a:gd name="connsiteY82" fmla="*/ 3993 h 10000"/>
              <a:gd name="connsiteX83" fmla="*/ 2601 w 10000"/>
              <a:gd name="connsiteY83" fmla="*/ 3798 h 10000"/>
              <a:gd name="connsiteX84" fmla="*/ 1742 w 10000"/>
              <a:gd name="connsiteY84" fmla="*/ 3414 h 10000"/>
              <a:gd name="connsiteX85" fmla="*/ 1742 w 10000"/>
              <a:gd name="connsiteY85" fmla="*/ 3414 h 10000"/>
              <a:gd name="connsiteX86" fmla="*/ 1598 w 10000"/>
              <a:gd name="connsiteY86" fmla="*/ 3349 h 10000"/>
              <a:gd name="connsiteX87" fmla="*/ 1454 w 10000"/>
              <a:gd name="connsiteY87" fmla="*/ 3279 h 10000"/>
              <a:gd name="connsiteX88" fmla="*/ 1314 w 10000"/>
              <a:gd name="connsiteY88" fmla="*/ 3205 h 10000"/>
              <a:gd name="connsiteX89" fmla="*/ 1179 w 10000"/>
              <a:gd name="connsiteY89" fmla="*/ 3126 h 10000"/>
              <a:gd name="connsiteX90" fmla="*/ 1049 w 10000"/>
              <a:gd name="connsiteY90" fmla="*/ 3038 h 10000"/>
              <a:gd name="connsiteX91" fmla="*/ 923 w 10000"/>
              <a:gd name="connsiteY91" fmla="*/ 2946 h 10000"/>
              <a:gd name="connsiteX92" fmla="*/ 797 w 10000"/>
              <a:gd name="connsiteY92" fmla="*/ 2849 h 10000"/>
              <a:gd name="connsiteX93" fmla="*/ 680 w 10000"/>
              <a:gd name="connsiteY93" fmla="*/ 2742 h 10000"/>
              <a:gd name="connsiteX94" fmla="*/ 680 w 10000"/>
              <a:gd name="connsiteY94" fmla="*/ 2742 h 10000"/>
              <a:gd name="connsiteX95" fmla="*/ 590 w 10000"/>
              <a:gd name="connsiteY95" fmla="*/ 2649 h 10000"/>
              <a:gd name="connsiteX96" fmla="*/ 504 w 10000"/>
              <a:gd name="connsiteY96" fmla="*/ 2557 h 10000"/>
              <a:gd name="connsiteX97" fmla="*/ 423 w 10000"/>
              <a:gd name="connsiteY97" fmla="*/ 2459 h 10000"/>
              <a:gd name="connsiteX98" fmla="*/ 356 w 10000"/>
              <a:gd name="connsiteY98" fmla="*/ 2362 h 10000"/>
              <a:gd name="connsiteX99" fmla="*/ 288 w 10000"/>
              <a:gd name="connsiteY99" fmla="*/ 2260 h 10000"/>
              <a:gd name="connsiteX100" fmla="*/ 230 w 10000"/>
              <a:gd name="connsiteY100" fmla="*/ 2154 h 10000"/>
              <a:gd name="connsiteX101" fmla="*/ 180 w 10000"/>
              <a:gd name="connsiteY101" fmla="*/ 2047 h 10000"/>
              <a:gd name="connsiteX102" fmla="*/ 131 w 10000"/>
              <a:gd name="connsiteY102" fmla="*/ 1941 h 10000"/>
              <a:gd name="connsiteX103" fmla="*/ 95 w 10000"/>
              <a:gd name="connsiteY103" fmla="*/ 1830 h 10000"/>
              <a:gd name="connsiteX104" fmla="*/ 63 w 10000"/>
              <a:gd name="connsiteY104" fmla="*/ 1714 h 10000"/>
              <a:gd name="connsiteX105" fmla="*/ 36 w 10000"/>
              <a:gd name="connsiteY105" fmla="*/ 1593 h 10000"/>
              <a:gd name="connsiteX106" fmla="*/ 18 w 10000"/>
              <a:gd name="connsiteY106" fmla="*/ 1473 h 10000"/>
              <a:gd name="connsiteX107" fmla="*/ 5 w 10000"/>
              <a:gd name="connsiteY107" fmla="*/ 1352 h 10000"/>
              <a:gd name="connsiteX108" fmla="*/ 0 w 10000"/>
              <a:gd name="connsiteY108" fmla="*/ 1227 h 10000"/>
              <a:gd name="connsiteX109" fmla="*/ 0 w 10000"/>
              <a:gd name="connsiteY109" fmla="*/ 1098 h 10000"/>
              <a:gd name="connsiteX110" fmla="*/ 9 w 10000"/>
              <a:gd name="connsiteY110" fmla="*/ 968 h 10000"/>
              <a:gd name="connsiteX111" fmla="*/ 9 w 10000"/>
              <a:gd name="connsiteY111" fmla="*/ 968 h 10000"/>
              <a:gd name="connsiteX112" fmla="*/ 23 w 10000"/>
              <a:gd name="connsiteY112" fmla="*/ 848 h 10000"/>
              <a:gd name="connsiteX113" fmla="*/ 41 w 10000"/>
              <a:gd name="connsiteY113" fmla="*/ 727 h 10000"/>
              <a:gd name="connsiteX114" fmla="*/ 68 w 10000"/>
              <a:gd name="connsiteY114" fmla="*/ 607 h 10000"/>
              <a:gd name="connsiteX115" fmla="*/ 95 w 10000"/>
              <a:gd name="connsiteY115" fmla="*/ 491 h 10000"/>
              <a:gd name="connsiteX116" fmla="*/ 131 w 10000"/>
              <a:gd name="connsiteY116" fmla="*/ 375 h 10000"/>
              <a:gd name="connsiteX117" fmla="*/ 171 w 10000"/>
              <a:gd name="connsiteY117" fmla="*/ 259 h 10000"/>
              <a:gd name="connsiteX118" fmla="*/ 212 w 10000"/>
              <a:gd name="connsiteY118" fmla="*/ 148 h 10000"/>
              <a:gd name="connsiteX119" fmla="*/ 266 w 10000"/>
              <a:gd name="connsiteY119" fmla="*/ 37 h 10000"/>
              <a:gd name="connsiteX120" fmla="*/ 266 w 10000"/>
              <a:gd name="connsiteY120" fmla="*/ 37 h 10000"/>
              <a:gd name="connsiteX121" fmla="*/ 275 w 10000"/>
              <a:gd name="connsiteY121" fmla="*/ 0 h 10000"/>
              <a:gd name="connsiteX122" fmla="*/ 275 w 10000"/>
              <a:gd name="connsiteY122" fmla="*/ 0 h 10000"/>
              <a:gd name="connsiteX0" fmla="*/ 275 w 10000"/>
              <a:gd name="connsiteY0" fmla="*/ 0 h 10000"/>
              <a:gd name="connsiteX1" fmla="*/ 275 w 10000"/>
              <a:gd name="connsiteY1" fmla="*/ 0 h 10000"/>
              <a:gd name="connsiteX2" fmla="*/ 10000 w 10000"/>
              <a:gd name="connsiteY2" fmla="*/ 0 h 10000"/>
              <a:gd name="connsiteX3" fmla="*/ 10000 w 10000"/>
              <a:gd name="connsiteY3" fmla="*/ 0 h 10000"/>
              <a:gd name="connsiteX4" fmla="*/ 10000 w 10000"/>
              <a:gd name="connsiteY4" fmla="*/ 74 h 10000"/>
              <a:gd name="connsiteX5" fmla="*/ 10000 w 10000"/>
              <a:gd name="connsiteY5" fmla="*/ 74 h 10000"/>
              <a:gd name="connsiteX6" fmla="*/ 10000 w 10000"/>
              <a:gd name="connsiteY6" fmla="*/ 9893 h 10000"/>
              <a:gd name="connsiteX7" fmla="*/ 10000 w 10000"/>
              <a:gd name="connsiteY7" fmla="*/ 9893 h 10000"/>
              <a:gd name="connsiteX8" fmla="*/ 10000 w 10000"/>
              <a:gd name="connsiteY8" fmla="*/ 9940 h 10000"/>
              <a:gd name="connsiteX9" fmla="*/ 10000 w 10000"/>
              <a:gd name="connsiteY9" fmla="*/ 9940 h 10000"/>
              <a:gd name="connsiteX10" fmla="*/ 10000 w 10000"/>
              <a:gd name="connsiteY10" fmla="*/ 9958 h 10000"/>
              <a:gd name="connsiteX11" fmla="*/ 9991 w 10000"/>
              <a:gd name="connsiteY11" fmla="*/ 9972 h 10000"/>
              <a:gd name="connsiteX12" fmla="*/ 9982 w 10000"/>
              <a:gd name="connsiteY12" fmla="*/ 9981 h 10000"/>
              <a:gd name="connsiteX13" fmla="*/ 9959 w 10000"/>
              <a:gd name="connsiteY13" fmla="*/ 9991 h 10000"/>
              <a:gd name="connsiteX14" fmla="*/ 9959 w 10000"/>
              <a:gd name="connsiteY14" fmla="*/ 9991 h 10000"/>
              <a:gd name="connsiteX15" fmla="*/ 9905 w 10000"/>
              <a:gd name="connsiteY15" fmla="*/ 9995 h 10000"/>
              <a:gd name="connsiteX16" fmla="*/ 9847 w 10000"/>
              <a:gd name="connsiteY16" fmla="*/ 10000 h 10000"/>
              <a:gd name="connsiteX17" fmla="*/ 9734 w 10000"/>
              <a:gd name="connsiteY17" fmla="*/ 10000 h 10000"/>
              <a:gd name="connsiteX18" fmla="*/ 9626 w 10000"/>
              <a:gd name="connsiteY18" fmla="*/ 9995 h 10000"/>
              <a:gd name="connsiteX19" fmla="*/ 9514 w 10000"/>
              <a:gd name="connsiteY19" fmla="*/ 9981 h 10000"/>
              <a:gd name="connsiteX20" fmla="*/ 9514 w 10000"/>
              <a:gd name="connsiteY20" fmla="*/ 9981 h 10000"/>
              <a:gd name="connsiteX21" fmla="*/ 9397 w 10000"/>
              <a:gd name="connsiteY21" fmla="*/ 9963 h 10000"/>
              <a:gd name="connsiteX22" fmla="*/ 9284 w 10000"/>
              <a:gd name="connsiteY22" fmla="*/ 9944 h 10000"/>
              <a:gd name="connsiteX23" fmla="*/ 9172 w 10000"/>
              <a:gd name="connsiteY23" fmla="*/ 9917 h 10000"/>
              <a:gd name="connsiteX24" fmla="*/ 9059 w 10000"/>
              <a:gd name="connsiteY24" fmla="*/ 9889 h 10000"/>
              <a:gd name="connsiteX25" fmla="*/ 8951 w 10000"/>
              <a:gd name="connsiteY25" fmla="*/ 9856 h 10000"/>
              <a:gd name="connsiteX26" fmla="*/ 8839 w 10000"/>
              <a:gd name="connsiteY26" fmla="*/ 9819 h 10000"/>
              <a:gd name="connsiteX27" fmla="*/ 8623 w 10000"/>
              <a:gd name="connsiteY27" fmla="*/ 9741 h 10000"/>
              <a:gd name="connsiteX28" fmla="*/ 8623 w 10000"/>
              <a:gd name="connsiteY28" fmla="*/ 9741 h 10000"/>
              <a:gd name="connsiteX29" fmla="*/ 8416 w 10000"/>
              <a:gd name="connsiteY29" fmla="*/ 9657 h 10000"/>
              <a:gd name="connsiteX30" fmla="*/ 7052 w 10000"/>
              <a:gd name="connsiteY30" fmla="*/ 8902 h 10000"/>
              <a:gd name="connsiteX31" fmla="*/ 6805 w 10000"/>
              <a:gd name="connsiteY31" fmla="*/ 8736 h 10000"/>
              <a:gd name="connsiteX32" fmla="*/ 6562 w 10000"/>
              <a:gd name="connsiteY32" fmla="*/ 8564 h 10000"/>
              <a:gd name="connsiteX33" fmla="*/ 6319 w 10000"/>
              <a:gd name="connsiteY33" fmla="*/ 8388 h 10000"/>
              <a:gd name="connsiteX34" fmla="*/ 6085 w 10000"/>
              <a:gd name="connsiteY34" fmla="*/ 8208 h 10000"/>
              <a:gd name="connsiteX35" fmla="*/ 5851 w 10000"/>
              <a:gd name="connsiteY35" fmla="*/ 8022 h 10000"/>
              <a:gd name="connsiteX36" fmla="*/ 5621 w 10000"/>
              <a:gd name="connsiteY36" fmla="*/ 7832 h 10000"/>
              <a:gd name="connsiteX37" fmla="*/ 5392 w 10000"/>
              <a:gd name="connsiteY37" fmla="*/ 7642 h 10000"/>
              <a:gd name="connsiteX38" fmla="*/ 5167 w 10000"/>
              <a:gd name="connsiteY38" fmla="*/ 7443 h 10000"/>
              <a:gd name="connsiteX39" fmla="*/ 5167 w 10000"/>
              <a:gd name="connsiteY39" fmla="*/ 7443 h 10000"/>
              <a:gd name="connsiteX40" fmla="*/ 4905 w 10000"/>
              <a:gd name="connsiteY40" fmla="*/ 7216 h 10000"/>
              <a:gd name="connsiteX41" fmla="*/ 4905 w 10000"/>
              <a:gd name="connsiteY41" fmla="*/ 7216 h 10000"/>
              <a:gd name="connsiteX42" fmla="*/ 4995 w 10000"/>
              <a:gd name="connsiteY42" fmla="*/ 7040 h 10000"/>
              <a:gd name="connsiteX43" fmla="*/ 5077 w 10000"/>
              <a:gd name="connsiteY43" fmla="*/ 6864 h 10000"/>
              <a:gd name="connsiteX44" fmla="*/ 5077 w 10000"/>
              <a:gd name="connsiteY44" fmla="*/ 6864 h 10000"/>
              <a:gd name="connsiteX45" fmla="*/ 5113 w 10000"/>
              <a:gd name="connsiteY45" fmla="*/ 6781 h 10000"/>
              <a:gd name="connsiteX46" fmla="*/ 5144 w 10000"/>
              <a:gd name="connsiteY46" fmla="*/ 6693 h 10000"/>
              <a:gd name="connsiteX47" fmla="*/ 5176 w 10000"/>
              <a:gd name="connsiteY47" fmla="*/ 6605 h 10000"/>
              <a:gd name="connsiteX48" fmla="*/ 5203 w 10000"/>
              <a:gd name="connsiteY48" fmla="*/ 6517 h 10000"/>
              <a:gd name="connsiteX49" fmla="*/ 5225 w 10000"/>
              <a:gd name="connsiteY49" fmla="*/ 6424 h 10000"/>
              <a:gd name="connsiteX50" fmla="*/ 5243 w 10000"/>
              <a:gd name="connsiteY50" fmla="*/ 6336 h 10000"/>
              <a:gd name="connsiteX51" fmla="*/ 5252 w 10000"/>
              <a:gd name="connsiteY51" fmla="*/ 6244 h 10000"/>
              <a:gd name="connsiteX52" fmla="*/ 5261 w 10000"/>
              <a:gd name="connsiteY52" fmla="*/ 6146 h 10000"/>
              <a:gd name="connsiteX53" fmla="*/ 5261 w 10000"/>
              <a:gd name="connsiteY53" fmla="*/ 6146 h 10000"/>
              <a:gd name="connsiteX54" fmla="*/ 5266 w 10000"/>
              <a:gd name="connsiteY54" fmla="*/ 6040 h 10000"/>
              <a:gd name="connsiteX55" fmla="*/ 5257 w 10000"/>
              <a:gd name="connsiteY55" fmla="*/ 5933 h 10000"/>
              <a:gd name="connsiteX56" fmla="*/ 5243 w 10000"/>
              <a:gd name="connsiteY56" fmla="*/ 5831 h 10000"/>
              <a:gd name="connsiteX57" fmla="*/ 5221 w 10000"/>
              <a:gd name="connsiteY57" fmla="*/ 5730 h 10000"/>
              <a:gd name="connsiteX58" fmla="*/ 5189 w 10000"/>
              <a:gd name="connsiteY58" fmla="*/ 5632 h 10000"/>
              <a:gd name="connsiteX59" fmla="*/ 5149 w 10000"/>
              <a:gd name="connsiteY59" fmla="*/ 5535 h 10000"/>
              <a:gd name="connsiteX60" fmla="*/ 5099 w 10000"/>
              <a:gd name="connsiteY60" fmla="*/ 5442 h 10000"/>
              <a:gd name="connsiteX61" fmla="*/ 5045 w 10000"/>
              <a:gd name="connsiteY61" fmla="*/ 5350 h 10000"/>
              <a:gd name="connsiteX62" fmla="*/ 5045 w 10000"/>
              <a:gd name="connsiteY62" fmla="*/ 5350 h 10000"/>
              <a:gd name="connsiteX63" fmla="*/ 4986 w 10000"/>
              <a:gd name="connsiteY63" fmla="*/ 5266 h 10000"/>
              <a:gd name="connsiteX64" fmla="*/ 4923 w 10000"/>
              <a:gd name="connsiteY64" fmla="*/ 5183 h 10000"/>
              <a:gd name="connsiteX65" fmla="*/ 4856 w 10000"/>
              <a:gd name="connsiteY65" fmla="*/ 5109 h 10000"/>
              <a:gd name="connsiteX66" fmla="*/ 4784 w 10000"/>
              <a:gd name="connsiteY66" fmla="*/ 5035 h 10000"/>
              <a:gd name="connsiteX67" fmla="*/ 4707 w 10000"/>
              <a:gd name="connsiteY67" fmla="*/ 4965 h 10000"/>
              <a:gd name="connsiteX68" fmla="*/ 4631 w 10000"/>
              <a:gd name="connsiteY68" fmla="*/ 4900 h 10000"/>
              <a:gd name="connsiteX69" fmla="*/ 4550 w 10000"/>
              <a:gd name="connsiteY69" fmla="*/ 4836 h 10000"/>
              <a:gd name="connsiteX70" fmla="*/ 4469 w 10000"/>
              <a:gd name="connsiteY70" fmla="*/ 4775 h 10000"/>
              <a:gd name="connsiteX71" fmla="*/ 4469 w 10000"/>
              <a:gd name="connsiteY71" fmla="*/ 4775 h 10000"/>
              <a:gd name="connsiteX72" fmla="*/ 4347 w 10000"/>
              <a:gd name="connsiteY72" fmla="*/ 4687 h 10000"/>
              <a:gd name="connsiteX73" fmla="*/ 4226 w 10000"/>
              <a:gd name="connsiteY73" fmla="*/ 4609 h 10000"/>
              <a:gd name="connsiteX74" fmla="*/ 4104 w 10000"/>
              <a:gd name="connsiteY74" fmla="*/ 4530 h 10000"/>
              <a:gd name="connsiteX75" fmla="*/ 3978 w 10000"/>
              <a:gd name="connsiteY75" fmla="*/ 4456 h 10000"/>
              <a:gd name="connsiteX76" fmla="*/ 3852 w 10000"/>
              <a:gd name="connsiteY76" fmla="*/ 4386 h 10000"/>
              <a:gd name="connsiteX77" fmla="*/ 3722 w 10000"/>
              <a:gd name="connsiteY77" fmla="*/ 4317 h 10000"/>
              <a:gd name="connsiteX78" fmla="*/ 3591 w 10000"/>
              <a:gd name="connsiteY78" fmla="*/ 4252 h 10000"/>
              <a:gd name="connsiteX79" fmla="*/ 3461 w 10000"/>
              <a:gd name="connsiteY79" fmla="*/ 4187 h 10000"/>
              <a:gd name="connsiteX80" fmla="*/ 3461 w 10000"/>
              <a:gd name="connsiteY80" fmla="*/ 4187 h 10000"/>
              <a:gd name="connsiteX81" fmla="*/ 3029 w 10000"/>
              <a:gd name="connsiteY81" fmla="*/ 3993 h 10000"/>
              <a:gd name="connsiteX82" fmla="*/ 2601 w 10000"/>
              <a:gd name="connsiteY82" fmla="*/ 3798 h 10000"/>
              <a:gd name="connsiteX83" fmla="*/ 1742 w 10000"/>
              <a:gd name="connsiteY83" fmla="*/ 3414 h 10000"/>
              <a:gd name="connsiteX84" fmla="*/ 1742 w 10000"/>
              <a:gd name="connsiteY84" fmla="*/ 3414 h 10000"/>
              <a:gd name="connsiteX85" fmla="*/ 1598 w 10000"/>
              <a:gd name="connsiteY85" fmla="*/ 3349 h 10000"/>
              <a:gd name="connsiteX86" fmla="*/ 1454 w 10000"/>
              <a:gd name="connsiteY86" fmla="*/ 3279 h 10000"/>
              <a:gd name="connsiteX87" fmla="*/ 1314 w 10000"/>
              <a:gd name="connsiteY87" fmla="*/ 3205 h 10000"/>
              <a:gd name="connsiteX88" fmla="*/ 1179 w 10000"/>
              <a:gd name="connsiteY88" fmla="*/ 3126 h 10000"/>
              <a:gd name="connsiteX89" fmla="*/ 1049 w 10000"/>
              <a:gd name="connsiteY89" fmla="*/ 3038 h 10000"/>
              <a:gd name="connsiteX90" fmla="*/ 923 w 10000"/>
              <a:gd name="connsiteY90" fmla="*/ 2946 h 10000"/>
              <a:gd name="connsiteX91" fmla="*/ 797 w 10000"/>
              <a:gd name="connsiteY91" fmla="*/ 2849 h 10000"/>
              <a:gd name="connsiteX92" fmla="*/ 680 w 10000"/>
              <a:gd name="connsiteY92" fmla="*/ 2742 h 10000"/>
              <a:gd name="connsiteX93" fmla="*/ 680 w 10000"/>
              <a:gd name="connsiteY93" fmla="*/ 2742 h 10000"/>
              <a:gd name="connsiteX94" fmla="*/ 590 w 10000"/>
              <a:gd name="connsiteY94" fmla="*/ 2649 h 10000"/>
              <a:gd name="connsiteX95" fmla="*/ 504 w 10000"/>
              <a:gd name="connsiteY95" fmla="*/ 2557 h 10000"/>
              <a:gd name="connsiteX96" fmla="*/ 423 w 10000"/>
              <a:gd name="connsiteY96" fmla="*/ 2459 h 10000"/>
              <a:gd name="connsiteX97" fmla="*/ 356 w 10000"/>
              <a:gd name="connsiteY97" fmla="*/ 2362 h 10000"/>
              <a:gd name="connsiteX98" fmla="*/ 288 w 10000"/>
              <a:gd name="connsiteY98" fmla="*/ 2260 h 10000"/>
              <a:gd name="connsiteX99" fmla="*/ 230 w 10000"/>
              <a:gd name="connsiteY99" fmla="*/ 2154 h 10000"/>
              <a:gd name="connsiteX100" fmla="*/ 180 w 10000"/>
              <a:gd name="connsiteY100" fmla="*/ 2047 h 10000"/>
              <a:gd name="connsiteX101" fmla="*/ 131 w 10000"/>
              <a:gd name="connsiteY101" fmla="*/ 1941 h 10000"/>
              <a:gd name="connsiteX102" fmla="*/ 95 w 10000"/>
              <a:gd name="connsiteY102" fmla="*/ 1830 h 10000"/>
              <a:gd name="connsiteX103" fmla="*/ 63 w 10000"/>
              <a:gd name="connsiteY103" fmla="*/ 1714 h 10000"/>
              <a:gd name="connsiteX104" fmla="*/ 36 w 10000"/>
              <a:gd name="connsiteY104" fmla="*/ 1593 h 10000"/>
              <a:gd name="connsiteX105" fmla="*/ 18 w 10000"/>
              <a:gd name="connsiteY105" fmla="*/ 1473 h 10000"/>
              <a:gd name="connsiteX106" fmla="*/ 5 w 10000"/>
              <a:gd name="connsiteY106" fmla="*/ 1352 h 10000"/>
              <a:gd name="connsiteX107" fmla="*/ 0 w 10000"/>
              <a:gd name="connsiteY107" fmla="*/ 1227 h 10000"/>
              <a:gd name="connsiteX108" fmla="*/ 0 w 10000"/>
              <a:gd name="connsiteY108" fmla="*/ 1098 h 10000"/>
              <a:gd name="connsiteX109" fmla="*/ 9 w 10000"/>
              <a:gd name="connsiteY109" fmla="*/ 968 h 10000"/>
              <a:gd name="connsiteX110" fmla="*/ 9 w 10000"/>
              <a:gd name="connsiteY110" fmla="*/ 968 h 10000"/>
              <a:gd name="connsiteX111" fmla="*/ 23 w 10000"/>
              <a:gd name="connsiteY111" fmla="*/ 848 h 10000"/>
              <a:gd name="connsiteX112" fmla="*/ 41 w 10000"/>
              <a:gd name="connsiteY112" fmla="*/ 727 h 10000"/>
              <a:gd name="connsiteX113" fmla="*/ 68 w 10000"/>
              <a:gd name="connsiteY113" fmla="*/ 607 h 10000"/>
              <a:gd name="connsiteX114" fmla="*/ 95 w 10000"/>
              <a:gd name="connsiteY114" fmla="*/ 491 h 10000"/>
              <a:gd name="connsiteX115" fmla="*/ 131 w 10000"/>
              <a:gd name="connsiteY115" fmla="*/ 375 h 10000"/>
              <a:gd name="connsiteX116" fmla="*/ 171 w 10000"/>
              <a:gd name="connsiteY116" fmla="*/ 259 h 10000"/>
              <a:gd name="connsiteX117" fmla="*/ 212 w 10000"/>
              <a:gd name="connsiteY117" fmla="*/ 148 h 10000"/>
              <a:gd name="connsiteX118" fmla="*/ 266 w 10000"/>
              <a:gd name="connsiteY118" fmla="*/ 37 h 10000"/>
              <a:gd name="connsiteX119" fmla="*/ 266 w 10000"/>
              <a:gd name="connsiteY119" fmla="*/ 37 h 10000"/>
              <a:gd name="connsiteX120" fmla="*/ 275 w 10000"/>
              <a:gd name="connsiteY120" fmla="*/ 0 h 10000"/>
              <a:gd name="connsiteX121" fmla="*/ 275 w 10000"/>
              <a:gd name="connsiteY121" fmla="*/ 0 h 10000"/>
              <a:gd name="connsiteX0" fmla="*/ 275 w 10000"/>
              <a:gd name="connsiteY0" fmla="*/ 0 h 10000"/>
              <a:gd name="connsiteX1" fmla="*/ 275 w 10000"/>
              <a:gd name="connsiteY1" fmla="*/ 0 h 10000"/>
              <a:gd name="connsiteX2" fmla="*/ 10000 w 10000"/>
              <a:gd name="connsiteY2" fmla="*/ 0 h 10000"/>
              <a:gd name="connsiteX3" fmla="*/ 10000 w 10000"/>
              <a:gd name="connsiteY3" fmla="*/ 0 h 10000"/>
              <a:gd name="connsiteX4" fmla="*/ 10000 w 10000"/>
              <a:gd name="connsiteY4" fmla="*/ 74 h 10000"/>
              <a:gd name="connsiteX5" fmla="*/ 10000 w 10000"/>
              <a:gd name="connsiteY5" fmla="*/ 74 h 10000"/>
              <a:gd name="connsiteX6" fmla="*/ 10000 w 10000"/>
              <a:gd name="connsiteY6" fmla="*/ 9893 h 10000"/>
              <a:gd name="connsiteX7" fmla="*/ 10000 w 10000"/>
              <a:gd name="connsiteY7" fmla="*/ 9893 h 10000"/>
              <a:gd name="connsiteX8" fmla="*/ 10000 w 10000"/>
              <a:gd name="connsiteY8" fmla="*/ 9940 h 10000"/>
              <a:gd name="connsiteX9" fmla="*/ 10000 w 10000"/>
              <a:gd name="connsiteY9" fmla="*/ 9940 h 10000"/>
              <a:gd name="connsiteX10" fmla="*/ 10000 w 10000"/>
              <a:gd name="connsiteY10" fmla="*/ 9958 h 10000"/>
              <a:gd name="connsiteX11" fmla="*/ 9991 w 10000"/>
              <a:gd name="connsiteY11" fmla="*/ 9972 h 10000"/>
              <a:gd name="connsiteX12" fmla="*/ 9982 w 10000"/>
              <a:gd name="connsiteY12" fmla="*/ 9981 h 10000"/>
              <a:gd name="connsiteX13" fmla="*/ 9959 w 10000"/>
              <a:gd name="connsiteY13" fmla="*/ 9991 h 10000"/>
              <a:gd name="connsiteX14" fmla="*/ 9959 w 10000"/>
              <a:gd name="connsiteY14" fmla="*/ 9991 h 10000"/>
              <a:gd name="connsiteX15" fmla="*/ 9905 w 10000"/>
              <a:gd name="connsiteY15" fmla="*/ 9995 h 10000"/>
              <a:gd name="connsiteX16" fmla="*/ 9847 w 10000"/>
              <a:gd name="connsiteY16" fmla="*/ 10000 h 10000"/>
              <a:gd name="connsiteX17" fmla="*/ 9734 w 10000"/>
              <a:gd name="connsiteY17" fmla="*/ 10000 h 10000"/>
              <a:gd name="connsiteX18" fmla="*/ 9626 w 10000"/>
              <a:gd name="connsiteY18" fmla="*/ 9995 h 10000"/>
              <a:gd name="connsiteX19" fmla="*/ 9514 w 10000"/>
              <a:gd name="connsiteY19" fmla="*/ 9981 h 10000"/>
              <a:gd name="connsiteX20" fmla="*/ 9514 w 10000"/>
              <a:gd name="connsiteY20" fmla="*/ 9981 h 10000"/>
              <a:gd name="connsiteX21" fmla="*/ 9397 w 10000"/>
              <a:gd name="connsiteY21" fmla="*/ 9963 h 10000"/>
              <a:gd name="connsiteX22" fmla="*/ 9284 w 10000"/>
              <a:gd name="connsiteY22" fmla="*/ 9944 h 10000"/>
              <a:gd name="connsiteX23" fmla="*/ 9172 w 10000"/>
              <a:gd name="connsiteY23" fmla="*/ 9917 h 10000"/>
              <a:gd name="connsiteX24" fmla="*/ 9059 w 10000"/>
              <a:gd name="connsiteY24" fmla="*/ 9889 h 10000"/>
              <a:gd name="connsiteX25" fmla="*/ 8951 w 10000"/>
              <a:gd name="connsiteY25" fmla="*/ 9856 h 10000"/>
              <a:gd name="connsiteX26" fmla="*/ 8839 w 10000"/>
              <a:gd name="connsiteY26" fmla="*/ 9819 h 10000"/>
              <a:gd name="connsiteX27" fmla="*/ 8623 w 10000"/>
              <a:gd name="connsiteY27" fmla="*/ 9741 h 10000"/>
              <a:gd name="connsiteX28" fmla="*/ 8623 w 10000"/>
              <a:gd name="connsiteY28" fmla="*/ 9741 h 10000"/>
              <a:gd name="connsiteX29" fmla="*/ 7052 w 10000"/>
              <a:gd name="connsiteY29" fmla="*/ 8902 h 10000"/>
              <a:gd name="connsiteX30" fmla="*/ 6805 w 10000"/>
              <a:gd name="connsiteY30" fmla="*/ 8736 h 10000"/>
              <a:gd name="connsiteX31" fmla="*/ 6562 w 10000"/>
              <a:gd name="connsiteY31" fmla="*/ 8564 h 10000"/>
              <a:gd name="connsiteX32" fmla="*/ 6319 w 10000"/>
              <a:gd name="connsiteY32" fmla="*/ 8388 h 10000"/>
              <a:gd name="connsiteX33" fmla="*/ 6085 w 10000"/>
              <a:gd name="connsiteY33" fmla="*/ 8208 h 10000"/>
              <a:gd name="connsiteX34" fmla="*/ 5851 w 10000"/>
              <a:gd name="connsiteY34" fmla="*/ 8022 h 10000"/>
              <a:gd name="connsiteX35" fmla="*/ 5621 w 10000"/>
              <a:gd name="connsiteY35" fmla="*/ 7832 h 10000"/>
              <a:gd name="connsiteX36" fmla="*/ 5392 w 10000"/>
              <a:gd name="connsiteY36" fmla="*/ 7642 h 10000"/>
              <a:gd name="connsiteX37" fmla="*/ 5167 w 10000"/>
              <a:gd name="connsiteY37" fmla="*/ 7443 h 10000"/>
              <a:gd name="connsiteX38" fmla="*/ 5167 w 10000"/>
              <a:gd name="connsiteY38" fmla="*/ 7443 h 10000"/>
              <a:gd name="connsiteX39" fmla="*/ 4905 w 10000"/>
              <a:gd name="connsiteY39" fmla="*/ 7216 h 10000"/>
              <a:gd name="connsiteX40" fmla="*/ 4905 w 10000"/>
              <a:gd name="connsiteY40" fmla="*/ 7216 h 10000"/>
              <a:gd name="connsiteX41" fmla="*/ 4995 w 10000"/>
              <a:gd name="connsiteY41" fmla="*/ 7040 h 10000"/>
              <a:gd name="connsiteX42" fmla="*/ 5077 w 10000"/>
              <a:gd name="connsiteY42" fmla="*/ 6864 h 10000"/>
              <a:gd name="connsiteX43" fmla="*/ 5077 w 10000"/>
              <a:gd name="connsiteY43" fmla="*/ 6864 h 10000"/>
              <a:gd name="connsiteX44" fmla="*/ 5113 w 10000"/>
              <a:gd name="connsiteY44" fmla="*/ 6781 h 10000"/>
              <a:gd name="connsiteX45" fmla="*/ 5144 w 10000"/>
              <a:gd name="connsiteY45" fmla="*/ 6693 h 10000"/>
              <a:gd name="connsiteX46" fmla="*/ 5176 w 10000"/>
              <a:gd name="connsiteY46" fmla="*/ 6605 h 10000"/>
              <a:gd name="connsiteX47" fmla="*/ 5203 w 10000"/>
              <a:gd name="connsiteY47" fmla="*/ 6517 h 10000"/>
              <a:gd name="connsiteX48" fmla="*/ 5225 w 10000"/>
              <a:gd name="connsiteY48" fmla="*/ 6424 h 10000"/>
              <a:gd name="connsiteX49" fmla="*/ 5243 w 10000"/>
              <a:gd name="connsiteY49" fmla="*/ 6336 h 10000"/>
              <a:gd name="connsiteX50" fmla="*/ 5252 w 10000"/>
              <a:gd name="connsiteY50" fmla="*/ 6244 h 10000"/>
              <a:gd name="connsiteX51" fmla="*/ 5261 w 10000"/>
              <a:gd name="connsiteY51" fmla="*/ 6146 h 10000"/>
              <a:gd name="connsiteX52" fmla="*/ 5261 w 10000"/>
              <a:gd name="connsiteY52" fmla="*/ 6146 h 10000"/>
              <a:gd name="connsiteX53" fmla="*/ 5266 w 10000"/>
              <a:gd name="connsiteY53" fmla="*/ 6040 h 10000"/>
              <a:gd name="connsiteX54" fmla="*/ 5257 w 10000"/>
              <a:gd name="connsiteY54" fmla="*/ 5933 h 10000"/>
              <a:gd name="connsiteX55" fmla="*/ 5243 w 10000"/>
              <a:gd name="connsiteY55" fmla="*/ 5831 h 10000"/>
              <a:gd name="connsiteX56" fmla="*/ 5221 w 10000"/>
              <a:gd name="connsiteY56" fmla="*/ 5730 h 10000"/>
              <a:gd name="connsiteX57" fmla="*/ 5189 w 10000"/>
              <a:gd name="connsiteY57" fmla="*/ 5632 h 10000"/>
              <a:gd name="connsiteX58" fmla="*/ 5149 w 10000"/>
              <a:gd name="connsiteY58" fmla="*/ 5535 h 10000"/>
              <a:gd name="connsiteX59" fmla="*/ 5099 w 10000"/>
              <a:gd name="connsiteY59" fmla="*/ 5442 h 10000"/>
              <a:gd name="connsiteX60" fmla="*/ 5045 w 10000"/>
              <a:gd name="connsiteY60" fmla="*/ 5350 h 10000"/>
              <a:gd name="connsiteX61" fmla="*/ 5045 w 10000"/>
              <a:gd name="connsiteY61" fmla="*/ 5350 h 10000"/>
              <a:gd name="connsiteX62" fmla="*/ 4986 w 10000"/>
              <a:gd name="connsiteY62" fmla="*/ 5266 h 10000"/>
              <a:gd name="connsiteX63" fmla="*/ 4923 w 10000"/>
              <a:gd name="connsiteY63" fmla="*/ 5183 h 10000"/>
              <a:gd name="connsiteX64" fmla="*/ 4856 w 10000"/>
              <a:gd name="connsiteY64" fmla="*/ 5109 h 10000"/>
              <a:gd name="connsiteX65" fmla="*/ 4784 w 10000"/>
              <a:gd name="connsiteY65" fmla="*/ 5035 h 10000"/>
              <a:gd name="connsiteX66" fmla="*/ 4707 w 10000"/>
              <a:gd name="connsiteY66" fmla="*/ 4965 h 10000"/>
              <a:gd name="connsiteX67" fmla="*/ 4631 w 10000"/>
              <a:gd name="connsiteY67" fmla="*/ 4900 h 10000"/>
              <a:gd name="connsiteX68" fmla="*/ 4550 w 10000"/>
              <a:gd name="connsiteY68" fmla="*/ 4836 h 10000"/>
              <a:gd name="connsiteX69" fmla="*/ 4469 w 10000"/>
              <a:gd name="connsiteY69" fmla="*/ 4775 h 10000"/>
              <a:gd name="connsiteX70" fmla="*/ 4469 w 10000"/>
              <a:gd name="connsiteY70" fmla="*/ 4775 h 10000"/>
              <a:gd name="connsiteX71" fmla="*/ 4347 w 10000"/>
              <a:gd name="connsiteY71" fmla="*/ 4687 h 10000"/>
              <a:gd name="connsiteX72" fmla="*/ 4226 w 10000"/>
              <a:gd name="connsiteY72" fmla="*/ 4609 h 10000"/>
              <a:gd name="connsiteX73" fmla="*/ 4104 w 10000"/>
              <a:gd name="connsiteY73" fmla="*/ 4530 h 10000"/>
              <a:gd name="connsiteX74" fmla="*/ 3978 w 10000"/>
              <a:gd name="connsiteY74" fmla="*/ 4456 h 10000"/>
              <a:gd name="connsiteX75" fmla="*/ 3852 w 10000"/>
              <a:gd name="connsiteY75" fmla="*/ 4386 h 10000"/>
              <a:gd name="connsiteX76" fmla="*/ 3722 w 10000"/>
              <a:gd name="connsiteY76" fmla="*/ 4317 h 10000"/>
              <a:gd name="connsiteX77" fmla="*/ 3591 w 10000"/>
              <a:gd name="connsiteY77" fmla="*/ 4252 h 10000"/>
              <a:gd name="connsiteX78" fmla="*/ 3461 w 10000"/>
              <a:gd name="connsiteY78" fmla="*/ 4187 h 10000"/>
              <a:gd name="connsiteX79" fmla="*/ 3461 w 10000"/>
              <a:gd name="connsiteY79" fmla="*/ 4187 h 10000"/>
              <a:gd name="connsiteX80" fmla="*/ 3029 w 10000"/>
              <a:gd name="connsiteY80" fmla="*/ 3993 h 10000"/>
              <a:gd name="connsiteX81" fmla="*/ 2601 w 10000"/>
              <a:gd name="connsiteY81" fmla="*/ 3798 h 10000"/>
              <a:gd name="connsiteX82" fmla="*/ 1742 w 10000"/>
              <a:gd name="connsiteY82" fmla="*/ 3414 h 10000"/>
              <a:gd name="connsiteX83" fmla="*/ 1742 w 10000"/>
              <a:gd name="connsiteY83" fmla="*/ 3414 h 10000"/>
              <a:gd name="connsiteX84" fmla="*/ 1598 w 10000"/>
              <a:gd name="connsiteY84" fmla="*/ 3349 h 10000"/>
              <a:gd name="connsiteX85" fmla="*/ 1454 w 10000"/>
              <a:gd name="connsiteY85" fmla="*/ 3279 h 10000"/>
              <a:gd name="connsiteX86" fmla="*/ 1314 w 10000"/>
              <a:gd name="connsiteY86" fmla="*/ 3205 h 10000"/>
              <a:gd name="connsiteX87" fmla="*/ 1179 w 10000"/>
              <a:gd name="connsiteY87" fmla="*/ 3126 h 10000"/>
              <a:gd name="connsiteX88" fmla="*/ 1049 w 10000"/>
              <a:gd name="connsiteY88" fmla="*/ 3038 h 10000"/>
              <a:gd name="connsiteX89" fmla="*/ 923 w 10000"/>
              <a:gd name="connsiteY89" fmla="*/ 2946 h 10000"/>
              <a:gd name="connsiteX90" fmla="*/ 797 w 10000"/>
              <a:gd name="connsiteY90" fmla="*/ 2849 h 10000"/>
              <a:gd name="connsiteX91" fmla="*/ 680 w 10000"/>
              <a:gd name="connsiteY91" fmla="*/ 2742 h 10000"/>
              <a:gd name="connsiteX92" fmla="*/ 680 w 10000"/>
              <a:gd name="connsiteY92" fmla="*/ 2742 h 10000"/>
              <a:gd name="connsiteX93" fmla="*/ 590 w 10000"/>
              <a:gd name="connsiteY93" fmla="*/ 2649 h 10000"/>
              <a:gd name="connsiteX94" fmla="*/ 504 w 10000"/>
              <a:gd name="connsiteY94" fmla="*/ 2557 h 10000"/>
              <a:gd name="connsiteX95" fmla="*/ 423 w 10000"/>
              <a:gd name="connsiteY95" fmla="*/ 2459 h 10000"/>
              <a:gd name="connsiteX96" fmla="*/ 356 w 10000"/>
              <a:gd name="connsiteY96" fmla="*/ 2362 h 10000"/>
              <a:gd name="connsiteX97" fmla="*/ 288 w 10000"/>
              <a:gd name="connsiteY97" fmla="*/ 2260 h 10000"/>
              <a:gd name="connsiteX98" fmla="*/ 230 w 10000"/>
              <a:gd name="connsiteY98" fmla="*/ 2154 h 10000"/>
              <a:gd name="connsiteX99" fmla="*/ 180 w 10000"/>
              <a:gd name="connsiteY99" fmla="*/ 2047 h 10000"/>
              <a:gd name="connsiteX100" fmla="*/ 131 w 10000"/>
              <a:gd name="connsiteY100" fmla="*/ 1941 h 10000"/>
              <a:gd name="connsiteX101" fmla="*/ 95 w 10000"/>
              <a:gd name="connsiteY101" fmla="*/ 1830 h 10000"/>
              <a:gd name="connsiteX102" fmla="*/ 63 w 10000"/>
              <a:gd name="connsiteY102" fmla="*/ 1714 h 10000"/>
              <a:gd name="connsiteX103" fmla="*/ 36 w 10000"/>
              <a:gd name="connsiteY103" fmla="*/ 1593 h 10000"/>
              <a:gd name="connsiteX104" fmla="*/ 18 w 10000"/>
              <a:gd name="connsiteY104" fmla="*/ 1473 h 10000"/>
              <a:gd name="connsiteX105" fmla="*/ 5 w 10000"/>
              <a:gd name="connsiteY105" fmla="*/ 1352 h 10000"/>
              <a:gd name="connsiteX106" fmla="*/ 0 w 10000"/>
              <a:gd name="connsiteY106" fmla="*/ 1227 h 10000"/>
              <a:gd name="connsiteX107" fmla="*/ 0 w 10000"/>
              <a:gd name="connsiteY107" fmla="*/ 1098 h 10000"/>
              <a:gd name="connsiteX108" fmla="*/ 9 w 10000"/>
              <a:gd name="connsiteY108" fmla="*/ 968 h 10000"/>
              <a:gd name="connsiteX109" fmla="*/ 9 w 10000"/>
              <a:gd name="connsiteY109" fmla="*/ 968 h 10000"/>
              <a:gd name="connsiteX110" fmla="*/ 23 w 10000"/>
              <a:gd name="connsiteY110" fmla="*/ 848 h 10000"/>
              <a:gd name="connsiteX111" fmla="*/ 41 w 10000"/>
              <a:gd name="connsiteY111" fmla="*/ 727 h 10000"/>
              <a:gd name="connsiteX112" fmla="*/ 68 w 10000"/>
              <a:gd name="connsiteY112" fmla="*/ 607 h 10000"/>
              <a:gd name="connsiteX113" fmla="*/ 95 w 10000"/>
              <a:gd name="connsiteY113" fmla="*/ 491 h 10000"/>
              <a:gd name="connsiteX114" fmla="*/ 131 w 10000"/>
              <a:gd name="connsiteY114" fmla="*/ 375 h 10000"/>
              <a:gd name="connsiteX115" fmla="*/ 171 w 10000"/>
              <a:gd name="connsiteY115" fmla="*/ 259 h 10000"/>
              <a:gd name="connsiteX116" fmla="*/ 212 w 10000"/>
              <a:gd name="connsiteY116" fmla="*/ 148 h 10000"/>
              <a:gd name="connsiteX117" fmla="*/ 266 w 10000"/>
              <a:gd name="connsiteY117" fmla="*/ 37 h 10000"/>
              <a:gd name="connsiteX118" fmla="*/ 266 w 10000"/>
              <a:gd name="connsiteY118" fmla="*/ 37 h 10000"/>
              <a:gd name="connsiteX119" fmla="*/ 275 w 10000"/>
              <a:gd name="connsiteY119" fmla="*/ 0 h 10000"/>
              <a:gd name="connsiteX120" fmla="*/ 275 w 10000"/>
              <a:gd name="connsiteY120" fmla="*/ 0 h 10000"/>
              <a:gd name="connsiteX0" fmla="*/ 275 w 10000"/>
              <a:gd name="connsiteY0" fmla="*/ 0 h 10000"/>
              <a:gd name="connsiteX1" fmla="*/ 275 w 10000"/>
              <a:gd name="connsiteY1" fmla="*/ 0 h 10000"/>
              <a:gd name="connsiteX2" fmla="*/ 10000 w 10000"/>
              <a:gd name="connsiteY2" fmla="*/ 0 h 10000"/>
              <a:gd name="connsiteX3" fmla="*/ 10000 w 10000"/>
              <a:gd name="connsiteY3" fmla="*/ 0 h 10000"/>
              <a:gd name="connsiteX4" fmla="*/ 10000 w 10000"/>
              <a:gd name="connsiteY4" fmla="*/ 74 h 10000"/>
              <a:gd name="connsiteX5" fmla="*/ 10000 w 10000"/>
              <a:gd name="connsiteY5" fmla="*/ 74 h 10000"/>
              <a:gd name="connsiteX6" fmla="*/ 10000 w 10000"/>
              <a:gd name="connsiteY6" fmla="*/ 9893 h 10000"/>
              <a:gd name="connsiteX7" fmla="*/ 10000 w 10000"/>
              <a:gd name="connsiteY7" fmla="*/ 9893 h 10000"/>
              <a:gd name="connsiteX8" fmla="*/ 10000 w 10000"/>
              <a:gd name="connsiteY8" fmla="*/ 9940 h 10000"/>
              <a:gd name="connsiteX9" fmla="*/ 10000 w 10000"/>
              <a:gd name="connsiteY9" fmla="*/ 9940 h 10000"/>
              <a:gd name="connsiteX10" fmla="*/ 10000 w 10000"/>
              <a:gd name="connsiteY10" fmla="*/ 9958 h 10000"/>
              <a:gd name="connsiteX11" fmla="*/ 9991 w 10000"/>
              <a:gd name="connsiteY11" fmla="*/ 9972 h 10000"/>
              <a:gd name="connsiteX12" fmla="*/ 9982 w 10000"/>
              <a:gd name="connsiteY12" fmla="*/ 9981 h 10000"/>
              <a:gd name="connsiteX13" fmla="*/ 9959 w 10000"/>
              <a:gd name="connsiteY13" fmla="*/ 9991 h 10000"/>
              <a:gd name="connsiteX14" fmla="*/ 9959 w 10000"/>
              <a:gd name="connsiteY14" fmla="*/ 9991 h 10000"/>
              <a:gd name="connsiteX15" fmla="*/ 9905 w 10000"/>
              <a:gd name="connsiteY15" fmla="*/ 9995 h 10000"/>
              <a:gd name="connsiteX16" fmla="*/ 9847 w 10000"/>
              <a:gd name="connsiteY16" fmla="*/ 10000 h 10000"/>
              <a:gd name="connsiteX17" fmla="*/ 9734 w 10000"/>
              <a:gd name="connsiteY17" fmla="*/ 10000 h 10000"/>
              <a:gd name="connsiteX18" fmla="*/ 9626 w 10000"/>
              <a:gd name="connsiteY18" fmla="*/ 9995 h 10000"/>
              <a:gd name="connsiteX19" fmla="*/ 9514 w 10000"/>
              <a:gd name="connsiteY19" fmla="*/ 9981 h 10000"/>
              <a:gd name="connsiteX20" fmla="*/ 9514 w 10000"/>
              <a:gd name="connsiteY20" fmla="*/ 9981 h 10000"/>
              <a:gd name="connsiteX21" fmla="*/ 9397 w 10000"/>
              <a:gd name="connsiteY21" fmla="*/ 9963 h 10000"/>
              <a:gd name="connsiteX22" fmla="*/ 9284 w 10000"/>
              <a:gd name="connsiteY22" fmla="*/ 9944 h 10000"/>
              <a:gd name="connsiteX23" fmla="*/ 9172 w 10000"/>
              <a:gd name="connsiteY23" fmla="*/ 9917 h 10000"/>
              <a:gd name="connsiteX24" fmla="*/ 9059 w 10000"/>
              <a:gd name="connsiteY24" fmla="*/ 9889 h 10000"/>
              <a:gd name="connsiteX25" fmla="*/ 8951 w 10000"/>
              <a:gd name="connsiteY25" fmla="*/ 9856 h 10000"/>
              <a:gd name="connsiteX26" fmla="*/ 8839 w 10000"/>
              <a:gd name="connsiteY26" fmla="*/ 9819 h 10000"/>
              <a:gd name="connsiteX27" fmla="*/ 8623 w 10000"/>
              <a:gd name="connsiteY27" fmla="*/ 9741 h 10000"/>
              <a:gd name="connsiteX28" fmla="*/ 7052 w 10000"/>
              <a:gd name="connsiteY28" fmla="*/ 8902 h 10000"/>
              <a:gd name="connsiteX29" fmla="*/ 6805 w 10000"/>
              <a:gd name="connsiteY29" fmla="*/ 8736 h 10000"/>
              <a:gd name="connsiteX30" fmla="*/ 6562 w 10000"/>
              <a:gd name="connsiteY30" fmla="*/ 8564 h 10000"/>
              <a:gd name="connsiteX31" fmla="*/ 6319 w 10000"/>
              <a:gd name="connsiteY31" fmla="*/ 8388 h 10000"/>
              <a:gd name="connsiteX32" fmla="*/ 6085 w 10000"/>
              <a:gd name="connsiteY32" fmla="*/ 8208 h 10000"/>
              <a:gd name="connsiteX33" fmla="*/ 5851 w 10000"/>
              <a:gd name="connsiteY33" fmla="*/ 8022 h 10000"/>
              <a:gd name="connsiteX34" fmla="*/ 5621 w 10000"/>
              <a:gd name="connsiteY34" fmla="*/ 7832 h 10000"/>
              <a:gd name="connsiteX35" fmla="*/ 5392 w 10000"/>
              <a:gd name="connsiteY35" fmla="*/ 7642 h 10000"/>
              <a:gd name="connsiteX36" fmla="*/ 5167 w 10000"/>
              <a:gd name="connsiteY36" fmla="*/ 7443 h 10000"/>
              <a:gd name="connsiteX37" fmla="*/ 5167 w 10000"/>
              <a:gd name="connsiteY37" fmla="*/ 7443 h 10000"/>
              <a:gd name="connsiteX38" fmla="*/ 4905 w 10000"/>
              <a:gd name="connsiteY38" fmla="*/ 7216 h 10000"/>
              <a:gd name="connsiteX39" fmla="*/ 4905 w 10000"/>
              <a:gd name="connsiteY39" fmla="*/ 7216 h 10000"/>
              <a:gd name="connsiteX40" fmla="*/ 4995 w 10000"/>
              <a:gd name="connsiteY40" fmla="*/ 7040 h 10000"/>
              <a:gd name="connsiteX41" fmla="*/ 5077 w 10000"/>
              <a:gd name="connsiteY41" fmla="*/ 6864 h 10000"/>
              <a:gd name="connsiteX42" fmla="*/ 5077 w 10000"/>
              <a:gd name="connsiteY42" fmla="*/ 6864 h 10000"/>
              <a:gd name="connsiteX43" fmla="*/ 5113 w 10000"/>
              <a:gd name="connsiteY43" fmla="*/ 6781 h 10000"/>
              <a:gd name="connsiteX44" fmla="*/ 5144 w 10000"/>
              <a:gd name="connsiteY44" fmla="*/ 6693 h 10000"/>
              <a:gd name="connsiteX45" fmla="*/ 5176 w 10000"/>
              <a:gd name="connsiteY45" fmla="*/ 6605 h 10000"/>
              <a:gd name="connsiteX46" fmla="*/ 5203 w 10000"/>
              <a:gd name="connsiteY46" fmla="*/ 6517 h 10000"/>
              <a:gd name="connsiteX47" fmla="*/ 5225 w 10000"/>
              <a:gd name="connsiteY47" fmla="*/ 6424 h 10000"/>
              <a:gd name="connsiteX48" fmla="*/ 5243 w 10000"/>
              <a:gd name="connsiteY48" fmla="*/ 6336 h 10000"/>
              <a:gd name="connsiteX49" fmla="*/ 5252 w 10000"/>
              <a:gd name="connsiteY49" fmla="*/ 6244 h 10000"/>
              <a:gd name="connsiteX50" fmla="*/ 5261 w 10000"/>
              <a:gd name="connsiteY50" fmla="*/ 6146 h 10000"/>
              <a:gd name="connsiteX51" fmla="*/ 5261 w 10000"/>
              <a:gd name="connsiteY51" fmla="*/ 6146 h 10000"/>
              <a:gd name="connsiteX52" fmla="*/ 5266 w 10000"/>
              <a:gd name="connsiteY52" fmla="*/ 6040 h 10000"/>
              <a:gd name="connsiteX53" fmla="*/ 5257 w 10000"/>
              <a:gd name="connsiteY53" fmla="*/ 5933 h 10000"/>
              <a:gd name="connsiteX54" fmla="*/ 5243 w 10000"/>
              <a:gd name="connsiteY54" fmla="*/ 5831 h 10000"/>
              <a:gd name="connsiteX55" fmla="*/ 5221 w 10000"/>
              <a:gd name="connsiteY55" fmla="*/ 5730 h 10000"/>
              <a:gd name="connsiteX56" fmla="*/ 5189 w 10000"/>
              <a:gd name="connsiteY56" fmla="*/ 5632 h 10000"/>
              <a:gd name="connsiteX57" fmla="*/ 5149 w 10000"/>
              <a:gd name="connsiteY57" fmla="*/ 5535 h 10000"/>
              <a:gd name="connsiteX58" fmla="*/ 5099 w 10000"/>
              <a:gd name="connsiteY58" fmla="*/ 5442 h 10000"/>
              <a:gd name="connsiteX59" fmla="*/ 5045 w 10000"/>
              <a:gd name="connsiteY59" fmla="*/ 5350 h 10000"/>
              <a:gd name="connsiteX60" fmla="*/ 5045 w 10000"/>
              <a:gd name="connsiteY60" fmla="*/ 5350 h 10000"/>
              <a:gd name="connsiteX61" fmla="*/ 4986 w 10000"/>
              <a:gd name="connsiteY61" fmla="*/ 5266 h 10000"/>
              <a:gd name="connsiteX62" fmla="*/ 4923 w 10000"/>
              <a:gd name="connsiteY62" fmla="*/ 5183 h 10000"/>
              <a:gd name="connsiteX63" fmla="*/ 4856 w 10000"/>
              <a:gd name="connsiteY63" fmla="*/ 5109 h 10000"/>
              <a:gd name="connsiteX64" fmla="*/ 4784 w 10000"/>
              <a:gd name="connsiteY64" fmla="*/ 5035 h 10000"/>
              <a:gd name="connsiteX65" fmla="*/ 4707 w 10000"/>
              <a:gd name="connsiteY65" fmla="*/ 4965 h 10000"/>
              <a:gd name="connsiteX66" fmla="*/ 4631 w 10000"/>
              <a:gd name="connsiteY66" fmla="*/ 4900 h 10000"/>
              <a:gd name="connsiteX67" fmla="*/ 4550 w 10000"/>
              <a:gd name="connsiteY67" fmla="*/ 4836 h 10000"/>
              <a:gd name="connsiteX68" fmla="*/ 4469 w 10000"/>
              <a:gd name="connsiteY68" fmla="*/ 4775 h 10000"/>
              <a:gd name="connsiteX69" fmla="*/ 4469 w 10000"/>
              <a:gd name="connsiteY69" fmla="*/ 4775 h 10000"/>
              <a:gd name="connsiteX70" fmla="*/ 4347 w 10000"/>
              <a:gd name="connsiteY70" fmla="*/ 4687 h 10000"/>
              <a:gd name="connsiteX71" fmla="*/ 4226 w 10000"/>
              <a:gd name="connsiteY71" fmla="*/ 4609 h 10000"/>
              <a:gd name="connsiteX72" fmla="*/ 4104 w 10000"/>
              <a:gd name="connsiteY72" fmla="*/ 4530 h 10000"/>
              <a:gd name="connsiteX73" fmla="*/ 3978 w 10000"/>
              <a:gd name="connsiteY73" fmla="*/ 4456 h 10000"/>
              <a:gd name="connsiteX74" fmla="*/ 3852 w 10000"/>
              <a:gd name="connsiteY74" fmla="*/ 4386 h 10000"/>
              <a:gd name="connsiteX75" fmla="*/ 3722 w 10000"/>
              <a:gd name="connsiteY75" fmla="*/ 4317 h 10000"/>
              <a:gd name="connsiteX76" fmla="*/ 3591 w 10000"/>
              <a:gd name="connsiteY76" fmla="*/ 4252 h 10000"/>
              <a:gd name="connsiteX77" fmla="*/ 3461 w 10000"/>
              <a:gd name="connsiteY77" fmla="*/ 4187 h 10000"/>
              <a:gd name="connsiteX78" fmla="*/ 3461 w 10000"/>
              <a:gd name="connsiteY78" fmla="*/ 4187 h 10000"/>
              <a:gd name="connsiteX79" fmla="*/ 3029 w 10000"/>
              <a:gd name="connsiteY79" fmla="*/ 3993 h 10000"/>
              <a:gd name="connsiteX80" fmla="*/ 2601 w 10000"/>
              <a:gd name="connsiteY80" fmla="*/ 3798 h 10000"/>
              <a:gd name="connsiteX81" fmla="*/ 1742 w 10000"/>
              <a:gd name="connsiteY81" fmla="*/ 3414 h 10000"/>
              <a:gd name="connsiteX82" fmla="*/ 1742 w 10000"/>
              <a:gd name="connsiteY82" fmla="*/ 3414 h 10000"/>
              <a:gd name="connsiteX83" fmla="*/ 1598 w 10000"/>
              <a:gd name="connsiteY83" fmla="*/ 3349 h 10000"/>
              <a:gd name="connsiteX84" fmla="*/ 1454 w 10000"/>
              <a:gd name="connsiteY84" fmla="*/ 3279 h 10000"/>
              <a:gd name="connsiteX85" fmla="*/ 1314 w 10000"/>
              <a:gd name="connsiteY85" fmla="*/ 3205 h 10000"/>
              <a:gd name="connsiteX86" fmla="*/ 1179 w 10000"/>
              <a:gd name="connsiteY86" fmla="*/ 3126 h 10000"/>
              <a:gd name="connsiteX87" fmla="*/ 1049 w 10000"/>
              <a:gd name="connsiteY87" fmla="*/ 3038 h 10000"/>
              <a:gd name="connsiteX88" fmla="*/ 923 w 10000"/>
              <a:gd name="connsiteY88" fmla="*/ 2946 h 10000"/>
              <a:gd name="connsiteX89" fmla="*/ 797 w 10000"/>
              <a:gd name="connsiteY89" fmla="*/ 2849 h 10000"/>
              <a:gd name="connsiteX90" fmla="*/ 680 w 10000"/>
              <a:gd name="connsiteY90" fmla="*/ 2742 h 10000"/>
              <a:gd name="connsiteX91" fmla="*/ 680 w 10000"/>
              <a:gd name="connsiteY91" fmla="*/ 2742 h 10000"/>
              <a:gd name="connsiteX92" fmla="*/ 590 w 10000"/>
              <a:gd name="connsiteY92" fmla="*/ 2649 h 10000"/>
              <a:gd name="connsiteX93" fmla="*/ 504 w 10000"/>
              <a:gd name="connsiteY93" fmla="*/ 2557 h 10000"/>
              <a:gd name="connsiteX94" fmla="*/ 423 w 10000"/>
              <a:gd name="connsiteY94" fmla="*/ 2459 h 10000"/>
              <a:gd name="connsiteX95" fmla="*/ 356 w 10000"/>
              <a:gd name="connsiteY95" fmla="*/ 2362 h 10000"/>
              <a:gd name="connsiteX96" fmla="*/ 288 w 10000"/>
              <a:gd name="connsiteY96" fmla="*/ 2260 h 10000"/>
              <a:gd name="connsiteX97" fmla="*/ 230 w 10000"/>
              <a:gd name="connsiteY97" fmla="*/ 2154 h 10000"/>
              <a:gd name="connsiteX98" fmla="*/ 180 w 10000"/>
              <a:gd name="connsiteY98" fmla="*/ 2047 h 10000"/>
              <a:gd name="connsiteX99" fmla="*/ 131 w 10000"/>
              <a:gd name="connsiteY99" fmla="*/ 1941 h 10000"/>
              <a:gd name="connsiteX100" fmla="*/ 95 w 10000"/>
              <a:gd name="connsiteY100" fmla="*/ 1830 h 10000"/>
              <a:gd name="connsiteX101" fmla="*/ 63 w 10000"/>
              <a:gd name="connsiteY101" fmla="*/ 1714 h 10000"/>
              <a:gd name="connsiteX102" fmla="*/ 36 w 10000"/>
              <a:gd name="connsiteY102" fmla="*/ 1593 h 10000"/>
              <a:gd name="connsiteX103" fmla="*/ 18 w 10000"/>
              <a:gd name="connsiteY103" fmla="*/ 1473 h 10000"/>
              <a:gd name="connsiteX104" fmla="*/ 5 w 10000"/>
              <a:gd name="connsiteY104" fmla="*/ 1352 h 10000"/>
              <a:gd name="connsiteX105" fmla="*/ 0 w 10000"/>
              <a:gd name="connsiteY105" fmla="*/ 1227 h 10000"/>
              <a:gd name="connsiteX106" fmla="*/ 0 w 10000"/>
              <a:gd name="connsiteY106" fmla="*/ 1098 h 10000"/>
              <a:gd name="connsiteX107" fmla="*/ 9 w 10000"/>
              <a:gd name="connsiteY107" fmla="*/ 968 h 10000"/>
              <a:gd name="connsiteX108" fmla="*/ 9 w 10000"/>
              <a:gd name="connsiteY108" fmla="*/ 968 h 10000"/>
              <a:gd name="connsiteX109" fmla="*/ 23 w 10000"/>
              <a:gd name="connsiteY109" fmla="*/ 848 h 10000"/>
              <a:gd name="connsiteX110" fmla="*/ 41 w 10000"/>
              <a:gd name="connsiteY110" fmla="*/ 727 h 10000"/>
              <a:gd name="connsiteX111" fmla="*/ 68 w 10000"/>
              <a:gd name="connsiteY111" fmla="*/ 607 h 10000"/>
              <a:gd name="connsiteX112" fmla="*/ 95 w 10000"/>
              <a:gd name="connsiteY112" fmla="*/ 491 h 10000"/>
              <a:gd name="connsiteX113" fmla="*/ 131 w 10000"/>
              <a:gd name="connsiteY113" fmla="*/ 375 h 10000"/>
              <a:gd name="connsiteX114" fmla="*/ 171 w 10000"/>
              <a:gd name="connsiteY114" fmla="*/ 259 h 10000"/>
              <a:gd name="connsiteX115" fmla="*/ 212 w 10000"/>
              <a:gd name="connsiteY115" fmla="*/ 148 h 10000"/>
              <a:gd name="connsiteX116" fmla="*/ 266 w 10000"/>
              <a:gd name="connsiteY116" fmla="*/ 37 h 10000"/>
              <a:gd name="connsiteX117" fmla="*/ 266 w 10000"/>
              <a:gd name="connsiteY117" fmla="*/ 37 h 10000"/>
              <a:gd name="connsiteX118" fmla="*/ 275 w 10000"/>
              <a:gd name="connsiteY118" fmla="*/ 0 h 10000"/>
              <a:gd name="connsiteX119" fmla="*/ 275 w 10000"/>
              <a:gd name="connsiteY119" fmla="*/ 0 h 10000"/>
              <a:gd name="connsiteX0" fmla="*/ 275 w 10000"/>
              <a:gd name="connsiteY0" fmla="*/ 0 h 10000"/>
              <a:gd name="connsiteX1" fmla="*/ 275 w 10000"/>
              <a:gd name="connsiteY1" fmla="*/ 0 h 10000"/>
              <a:gd name="connsiteX2" fmla="*/ 10000 w 10000"/>
              <a:gd name="connsiteY2" fmla="*/ 0 h 10000"/>
              <a:gd name="connsiteX3" fmla="*/ 10000 w 10000"/>
              <a:gd name="connsiteY3" fmla="*/ 0 h 10000"/>
              <a:gd name="connsiteX4" fmla="*/ 10000 w 10000"/>
              <a:gd name="connsiteY4" fmla="*/ 74 h 10000"/>
              <a:gd name="connsiteX5" fmla="*/ 10000 w 10000"/>
              <a:gd name="connsiteY5" fmla="*/ 74 h 10000"/>
              <a:gd name="connsiteX6" fmla="*/ 10000 w 10000"/>
              <a:gd name="connsiteY6" fmla="*/ 9893 h 10000"/>
              <a:gd name="connsiteX7" fmla="*/ 10000 w 10000"/>
              <a:gd name="connsiteY7" fmla="*/ 9893 h 10000"/>
              <a:gd name="connsiteX8" fmla="*/ 10000 w 10000"/>
              <a:gd name="connsiteY8" fmla="*/ 9940 h 10000"/>
              <a:gd name="connsiteX9" fmla="*/ 10000 w 10000"/>
              <a:gd name="connsiteY9" fmla="*/ 9940 h 10000"/>
              <a:gd name="connsiteX10" fmla="*/ 10000 w 10000"/>
              <a:gd name="connsiteY10" fmla="*/ 9958 h 10000"/>
              <a:gd name="connsiteX11" fmla="*/ 9991 w 10000"/>
              <a:gd name="connsiteY11" fmla="*/ 9972 h 10000"/>
              <a:gd name="connsiteX12" fmla="*/ 9982 w 10000"/>
              <a:gd name="connsiteY12" fmla="*/ 9981 h 10000"/>
              <a:gd name="connsiteX13" fmla="*/ 9959 w 10000"/>
              <a:gd name="connsiteY13" fmla="*/ 9991 h 10000"/>
              <a:gd name="connsiteX14" fmla="*/ 9959 w 10000"/>
              <a:gd name="connsiteY14" fmla="*/ 9991 h 10000"/>
              <a:gd name="connsiteX15" fmla="*/ 9905 w 10000"/>
              <a:gd name="connsiteY15" fmla="*/ 9995 h 10000"/>
              <a:gd name="connsiteX16" fmla="*/ 9847 w 10000"/>
              <a:gd name="connsiteY16" fmla="*/ 10000 h 10000"/>
              <a:gd name="connsiteX17" fmla="*/ 9734 w 10000"/>
              <a:gd name="connsiteY17" fmla="*/ 10000 h 10000"/>
              <a:gd name="connsiteX18" fmla="*/ 9626 w 10000"/>
              <a:gd name="connsiteY18" fmla="*/ 9995 h 10000"/>
              <a:gd name="connsiteX19" fmla="*/ 9514 w 10000"/>
              <a:gd name="connsiteY19" fmla="*/ 9981 h 10000"/>
              <a:gd name="connsiteX20" fmla="*/ 9514 w 10000"/>
              <a:gd name="connsiteY20" fmla="*/ 9981 h 10000"/>
              <a:gd name="connsiteX21" fmla="*/ 9397 w 10000"/>
              <a:gd name="connsiteY21" fmla="*/ 9963 h 10000"/>
              <a:gd name="connsiteX22" fmla="*/ 9284 w 10000"/>
              <a:gd name="connsiteY22" fmla="*/ 9944 h 10000"/>
              <a:gd name="connsiteX23" fmla="*/ 9172 w 10000"/>
              <a:gd name="connsiteY23" fmla="*/ 9917 h 10000"/>
              <a:gd name="connsiteX24" fmla="*/ 9059 w 10000"/>
              <a:gd name="connsiteY24" fmla="*/ 9889 h 10000"/>
              <a:gd name="connsiteX25" fmla="*/ 8951 w 10000"/>
              <a:gd name="connsiteY25" fmla="*/ 9856 h 10000"/>
              <a:gd name="connsiteX26" fmla="*/ 8839 w 10000"/>
              <a:gd name="connsiteY26" fmla="*/ 9819 h 10000"/>
              <a:gd name="connsiteX27" fmla="*/ 7052 w 10000"/>
              <a:gd name="connsiteY27" fmla="*/ 8902 h 10000"/>
              <a:gd name="connsiteX28" fmla="*/ 6805 w 10000"/>
              <a:gd name="connsiteY28" fmla="*/ 8736 h 10000"/>
              <a:gd name="connsiteX29" fmla="*/ 6562 w 10000"/>
              <a:gd name="connsiteY29" fmla="*/ 8564 h 10000"/>
              <a:gd name="connsiteX30" fmla="*/ 6319 w 10000"/>
              <a:gd name="connsiteY30" fmla="*/ 8388 h 10000"/>
              <a:gd name="connsiteX31" fmla="*/ 6085 w 10000"/>
              <a:gd name="connsiteY31" fmla="*/ 8208 h 10000"/>
              <a:gd name="connsiteX32" fmla="*/ 5851 w 10000"/>
              <a:gd name="connsiteY32" fmla="*/ 8022 h 10000"/>
              <a:gd name="connsiteX33" fmla="*/ 5621 w 10000"/>
              <a:gd name="connsiteY33" fmla="*/ 7832 h 10000"/>
              <a:gd name="connsiteX34" fmla="*/ 5392 w 10000"/>
              <a:gd name="connsiteY34" fmla="*/ 7642 h 10000"/>
              <a:gd name="connsiteX35" fmla="*/ 5167 w 10000"/>
              <a:gd name="connsiteY35" fmla="*/ 7443 h 10000"/>
              <a:gd name="connsiteX36" fmla="*/ 5167 w 10000"/>
              <a:gd name="connsiteY36" fmla="*/ 7443 h 10000"/>
              <a:gd name="connsiteX37" fmla="*/ 4905 w 10000"/>
              <a:gd name="connsiteY37" fmla="*/ 7216 h 10000"/>
              <a:gd name="connsiteX38" fmla="*/ 4905 w 10000"/>
              <a:gd name="connsiteY38" fmla="*/ 7216 h 10000"/>
              <a:gd name="connsiteX39" fmla="*/ 4995 w 10000"/>
              <a:gd name="connsiteY39" fmla="*/ 7040 h 10000"/>
              <a:gd name="connsiteX40" fmla="*/ 5077 w 10000"/>
              <a:gd name="connsiteY40" fmla="*/ 6864 h 10000"/>
              <a:gd name="connsiteX41" fmla="*/ 5077 w 10000"/>
              <a:gd name="connsiteY41" fmla="*/ 6864 h 10000"/>
              <a:gd name="connsiteX42" fmla="*/ 5113 w 10000"/>
              <a:gd name="connsiteY42" fmla="*/ 6781 h 10000"/>
              <a:gd name="connsiteX43" fmla="*/ 5144 w 10000"/>
              <a:gd name="connsiteY43" fmla="*/ 6693 h 10000"/>
              <a:gd name="connsiteX44" fmla="*/ 5176 w 10000"/>
              <a:gd name="connsiteY44" fmla="*/ 6605 h 10000"/>
              <a:gd name="connsiteX45" fmla="*/ 5203 w 10000"/>
              <a:gd name="connsiteY45" fmla="*/ 6517 h 10000"/>
              <a:gd name="connsiteX46" fmla="*/ 5225 w 10000"/>
              <a:gd name="connsiteY46" fmla="*/ 6424 h 10000"/>
              <a:gd name="connsiteX47" fmla="*/ 5243 w 10000"/>
              <a:gd name="connsiteY47" fmla="*/ 6336 h 10000"/>
              <a:gd name="connsiteX48" fmla="*/ 5252 w 10000"/>
              <a:gd name="connsiteY48" fmla="*/ 6244 h 10000"/>
              <a:gd name="connsiteX49" fmla="*/ 5261 w 10000"/>
              <a:gd name="connsiteY49" fmla="*/ 6146 h 10000"/>
              <a:gd name="connsiteX50" fmla="*/ 5261 w 10000"/>
              <a:gd name="connsiteY50" fmla="*/ 6146 h 10000"/>
              <a:gd name="connsiteX51" fmla="*/ 5266 w 10000"/>
              <a:gd name="connsiteY51" fmla="*/ 6040 h 10000"/>
              <a:gd name="connsiteX52" fmla="*/ 5257 w 10000"/>
              <a:gd name="connsiteY52" fmla="*/ 5933 h 10000"/>
              <a:gd name="connsiteX53" fmla="*/ 5243 w 10000"/>
              <a:gd name="connsiteY53" fmla="*/ 5831 h 10000"/>
              <a:gd name="connsiteX54" fmla="*/ 5221 w 10000"/>
              <a:gd name="connsiteY54" fmla="*/ 5730 h 10000"/>
              <a:gd name="connsiteX55" fmla="*/ 5189 w 10000"/>
              <a:gd name="connsiteY55" fmla="*/ 5632 h 10000"/>
              <a:gd name="connsiteX56" fmla="*/ 5149 w 10000"/>
              <a:gd name="connsiteY56" fmla="*/ 5535 h 10000"/>
              <a:gd name="connsiteX57" fmla="*/ 5099 w 10000"/>
              <a:gd name="connsiteY57" fmla="*/ 5442 h 10000"/>
              <a:gd name="connsiteX58" fmla="*/ 5045 w 10000"/>
              <a:gd name="connsiteY58" fmla="*/ 5350 h 10000"/>
              <a:gd name="connsiteX59" fmla="*/ 5045 w 10000"/>
              <a:gd name="connsiteY59" fmla="*/ 5350 h 10000"/>
              <a:gd name="connsiteX60" fmla="*/ 4986 w 10000"/>
              <a:gd name="connsiteY60" fmla="*/ 5266 h 10000"/>
              <a:gd name="connsiteX61" fmla="*/ 4923 w 10000"/>
              <a:gd name="connsiteY61" fmla="*/ 5183 h 10000"/>
              <a:gd name="connsiteX62" fmla="*/ 4856 w 10000"/>
              <a:gd name="connsiteY62" fmla="*/ 5109 h 10000"/>
              <a:gd name="connsiteX63" fmla="*/ 4784 w 10000"/>
              <a:gd name="connsiteY63" fmla="*/ 5035 h 10000"/>
              <a:gd name="connsiteX64" fmla="*/ 4707 w 10000"/>
              <a:gd name="connsiteY64" fmla="*/ 4965 h 10000"/>
              <a:gd name="connsiteX65" fmla="*/ 4631 w 10000"/>
              <a:gd name="connsiteY65" fmla="*/ 4900 h 10000"/>
              <a:gd name="connsiteX66" fmla="*/ 4550 w 10000"/>
              <a:gd name="connsiteY66" fmla="*/ 4836 h 10000"/>
              <a:gd name="connsiteX67" fmla="*/ 4469 w 10000"/>
              <a:gd name="connsiteY67" fmla="*/ 4775 h 10000"/>
              <a:gd name="connsiteX68" fmla="*/ 4469 w 10000"/>
              <a:gd name="connsiteY68" fmla="*/ 4775 h 10000"/>
              <a:gd name="connsiteX69" fmla="*/ 4347 w 10000"/>
              <a:gd name="connsiteY69" fmla="*/ 4687 h 10000"/>
              <a:gd name="connsiteX70" fmla="*/ 4226 w 10000"/>
              <a:gd name="connsiteY70" fmla="*/ 4609 h 10000"/>
              <a:gd name="connsiteX71" fmla="*/ 4104 w 10000"/>
              <a:gd name="connsiteY71" fmla="*/ 4530 h 10000"/>
              <a:gd name="connsiteX72" fmla="*/ 3978 w 10000"/>
              <a:gd name="connsiteY72" fmla="*/ 4456 h 10000"/>
              <a:gd name="connsiteX73" fmla="*/ 3852 w 10000"/>
              <a:gd name="connsiteY73" fmla="*/ 4386 h 10000"/>
              <a:gd name="connsiteX74" fmla="*/ 3722 w 10000"/>
              <a:gd name="connsiteY74" fmla="*/ 4317 h 10000"/>
              <a:gd name="connsiteX75" fmla="*/ 3591 w 10000"/>
              <a:gd name="connsiteY75" fmla="*/ 4252 h 10000"/>
              <a:gd name="connsiteX76" fmla="*/ 3461 w 10000"/>
              <a:gd name="connsiteY76" fmla="*/ 4187 h 10000"/>
              <a:gd name="connsiteX77" fmla="*/ 3461 w 10000"/>
              <a:gd name="connsiteY77" fmla="*/ 4187 h 10000"/>
              <a:gd name="connsiteX78" fmla="*/ 3029 w 10000"/>
              <a:gd name="connsiteY78" fmla="*/ 3993 h 10000"/>
              <a:gd name="connsiteX79" fmla="*/ 2601 w 10000"/>
              <a:gd name="connsiteY79" fmla="*/ 3798 h 10000"/>
              <a:gd name="connsiteX80" fmla="*/ 1742 w 10000"/>
              <a:gd name="connsiteY80" fmla="*/ 3414 h 10000"/>
              <a:gd name="connsiteX81" fmla="*/ 1742 w 10000"/>
              <a:gd name="connsiteY81" fmla="*/ 3414 h 10000"/>
              <a:gd name="connsiteX82" fmla="*/ 1598 w 10000"/>
              <a:gd name="connsiteY82" fmla="*/ 3349 h 10000"/>
              <a:gd name="connsiteX83" fmla="*/ 1454 w 10000"/>
              <a:gd name="connsiteY83" fmla="*/ 3279 h 10000"/>
              <a:gd name="connsiteX84" fmla="*/ 1314 w 10000"/>
              <a:gd name="connsiteY84" fmla="*/ 3205 h 10000"/>
              <a:gd name="connsiteX85" fmla="*/ 1179 w 10000"/>
              <a:gd name="connsiteY85" fmla="*/ 3126 h 10000"/>
              <a:gd name="connsiteX86" fmla="*/ 1049 w 10000"/>
              <a:gd name="connsiteY86" fmla="*/ 3038 h 10000"/>
              <a:gd name="connsiteX87" fmla="*/ 923 w 10000"/>
              <a:gd name="connsiteY87" fmla="*/ 2946 h 10000"/>
              <a:gd name="connsiteX88" fmla="*/ 797 w 10000"/>
              <a:gd name="connsiteY88" fmla="*/ 2849 h 10000"/>
              <a:gd name="connsiteX89" fmla="*/ 680 w 10000"/>
              <a:gd name="connsiteY89" fmla="*/ 2742 h 10000"/>
              <a:gd name="connsiteX90" fmla="*/ 680 w 10000"/>
              <a:gd name="connsiteY90" fmla="*/ 2742 h 10000"/>
              <a:gd name="connsiteX91" fmla="*/ 590 w 10000"/>
              <a:gd name="connsiteY91" fmla="*/ 2649 h 10000"/>
              <a:gd name="connsiteX92" fmla="*/ 504 w 10000"/>
              <a:gd name="connsiteY92" fmla="*/ 2557 h 10000"/>
              <a:gd name="connsiteX93" fmla="*/ 423 w 10000"/>
              <a:gd name="connsiteY93" fmla="*/ 2459 h 10000"/>
              <a:gd name="connsiteX94" fmla="*/ 356 w 10000"/>
              <a:gd name="connsiteY94" fmla="*/ 2362 h 10000"/>
              <a:gd name="connsiteX95" fmla="*/ 288 w 10000"/>
              <a:gd name="connsiteY95" fmla="*/ 2260 h 10000"/>
              <a:gd name="connsiteX96" fmla="*/ 230 w 10000"/>
              <a:gd name="connsiteY96" fmla="*/ 2154 h 10000"/>
              <a:gd name="connsiteX97" fmla="*/ 180 w 10000"/>
              <a:gd name="connsiteY97" fmla="*/ 2047 h 10000"/>
              <a:gd name="connsiteX98" fmla="*/ 131 w 10000"/>
              <a:gd name="connsiteY98" fmla="*/ 1941 h 10000"/>
              <a:gd name="connsiteX99" fmla="*/ 95 w 10000"/>
              <a:gd name="connsiteY99" fmla="*/ 1830 h 10000"/>
              <a:gd name="connsiteX100" fmla="*/ 63 w 10000"/>
              <a:gd name="connsiteY100" fmla="*/ 1714 h 10000"/>
              <a:gd name="connsiteX101" fmla="*/ 36 w 10000"/>
              <a:gd name="connsiteY101" fmla="*/ 1593 h 10000"/>
              <a:gd name="connsiteX102" fmla="*/ 18 w 10000"/>
              <a:gd name="connsiteY102" fmla="*/ 1473 h 10000"/>
              <a:gd name="connsiteX103" fmla="*/ 5 w 10000"/>
              <a:gd name="connsiteY103" fmla="*/ 1352 h 10000"/>
              <a:gd name="connsiteX104" fmla="*/ 0 w 10000"/>
              <a:gd name="connsiteY104" fmla="*/ 1227 h 10000"/>
              <a:gd name="connsiteX105" fmla="*/ 0 w 10000"/>
              <a:gd name="connsiteY105" fmla="*/ 1098 h 10000"/>
              <a:gd name="connsiteX106" fmla="*/ 9 w 10000"/>
              <a:gd name="connsiteY106" fmla="*/ 968 h 10000"/>
              <a:gd name="connsiteX107" fmla="*/ 9 w 10000"/>
              <a:gd name="connsiteY107" fmla="*/ 968 h 10000"/>
              <a:gd name="connsiteX108" fmla="*/ 23 w 10000"/>
              <a:gd name="connsiteY108" fmla="*/ 848 h 10000"/>
              <a:gd name="connsiteX109" fmla="*/ 41 w 10000"/>
              <a:gd name="connsiteY109" fmla="*/ 727 h 10000"/>
              <a:gd name="connsiteX110" fmla="*/ 68 w 10000"/>
              <a:gd name="connsiteY110" fmla="*/ 607 h 10000"/>
              <a:gd name="connsiteX111" fmla="*/ 95 w 10000"/>
              <a:gd name="connsiteY111" fmla="*/ 491 h 10000"/>
              <a:gd name="connsiteX112" fmla="*/ 131 w 10000"/>
              <a:gd name="connsiteY112" fmla="*/ 375 h 10000"/>
              <a:gd name="connsiteX113" fmla="*/ 171 w 10000"/>
              <a:gd name="connsiteY113" fmla="*/ 259 h 10000"/>
              <a:gd name="connsiteX114" fmla="*/ 212 w 10000"/>
              <a:gd name="connsiteY114" fmla="*/ 148 h 10000"/>
              <a:gd name="connsiteX115" fmla="*/ 266 w 10000"/>
              <a:gd name="connsiteY115" fmla="*/ 37 h 10000"/>
              <a:gd name="connsiteX116" fmla="*/ 266 w 10000"/>
              <a:gd name="connsiteY116" fmla="*/ 37 h 10000"/>
              <a:gd name="connsiteX117" fmla="*/ 275 w 10000"/>
              <a:gd name="connsiteY117" fmla="*/ 0 h 10000"/>
              <a:gd name="connsiteX118" fmla="*/ 275 w 10000"/>
              <a:gd name="connsiteY118" fmla="*/ 0 h 10000"/>
              <a:gd name="connsiteX0" fmla="*/ 275 w 10000"/>
              <a:gd name="connsiteY0" fmla="*/ 0 h 10000"/>
              <a:gd name="connsiteX1" fmla="*/ 275 w 10000"/>
              <a:gd name="connsiteY1" fmla="*/ 0 h 10000"/>
              <a:gd name="connsiteX2" fmla="*/ 10000 w 10000"/>
              <a:gd name="connsiteY2" fmla="*/ 0 h 10000"/>
              <a:gd name="connsiteX3" fmla="*/ 10000 w 10000"/>
              <a:gd name="connsiteY3" fmla="*/ 0 h 10000"/>
              <a:gd name="connsiteX4" fmla="*/ 10000 w 10000"/>
              <a:gd name="connsiteY4" fmla="*/ 74 h 10000"/>
              <a:gd name="connsiteX5" fmla="*/ 10000 w 10000"/>
              <a:gd name="connsiteY5" fmla="*/ 74 h 10000"/>
              <a:gd name="connsiteX6" fmla="*/ 10000 w 10000"/>
              <a:gd name="connsiteY6" fmla="*/ 9893 h 10000"/>
              <a:gd name="connsiteX7" fmla="*/ 10000 w 10000"/>
              <a:gd name="connsiteY7" fmla="*/ 9893 h 10000"/>
              <a:gd name="connsiteX8" fmla="*/ 10000 w 10000"/>
              <a:gd name="connsiteY8" fmla="*/ 9940 h 10000"/>
              <a:gd name="connsiteX9" fmla="*/ 10000 w 10000"/>
              <a:gd name="connsiteY9" fmla="*/ 9940 h 10000"/>
              <a:gd name="connsiteX10" fmla="*/ 10000 w 10000"/>
              <a:gd name="connsiteY10" fmla="*/ 9958 h 10000"/>
              <a:gd name="connsiteX11" fmla="*/ 9991 w 10000"/>
              <a:gd name="connsiteY11" fmla="*/ 9972 h 10000"/>
              <a:gd name="connsiteX12" fmla="*/ 9982 w 10000"/>
              <a:gd name="connsiteY12" fmla="*/ 9981 h 10000"/>
              <a:gd name="connsiteX13" fmla="*/ 9959 w 10000"/>
              <a:gd name="connsiteY13" fmla="*/ 9991 h 10000"/>
              <a:gd name="connsiteX14" fmla="*/ 9959 w 10000"/>
              <a:gd name="connsiteY14" fmla="*/ 9991 h 10000"/>
              <a:gd name="connsiteX15" fmla="*/ 9905 w 10000"/>
              <a:gd name="connsiteY15" fmla="*/ 9995 h 10000"/>
              <a:gd name="connsiteX16" fmla="*/ 9847 w 10000"/>
              <a:gd name="connsiteY16" fmla="*/ 10000 h 10000"/>
              <a:gd name="connsiteX17" fmla="*/ 9734 w 10000"/>
              <a:gd name="connsiteY17" fmla="*/ 10000 h 10000"/>
              <a:gd name="connsiteX18" fmla="*/ 9626 w 10000"/>
              <a:gd name="connsiteY18" fmla="*/ 9995 h 10000"/>
              <a:gd name="connsiteX19" fmla="*/ 9514 w 10000"/>
              <a:gd name="connsiteY19" fmla="*/ 9981 h 10000"/>
              <a:gd name="connsiteX20" fmla="*/ 9514 w 10000"/>
              <a:gd name="connsiteY20" fmla="*/ 9981 h 10000"/>
              <a:gd name="connsiteX21" fmla="*/ 9397 w 10000"/>
              <a:gd name="connsiteY21" fmla="*/ 9963 h 10000"/>
              <a:gd name="connsiteX22" fmla="*/ 9284 w 10000"/>
              <a:gd name="connsiteY22" fmla="*/ 9944 h 10000"/>
              <a:gd name="connsiteX23" fmla="*/ 9172 w 10000"/>
              <a:gd name="connsiteY23" fmla="*/ 9917 h 10000"/>
              <a:gd name="connsiteX24" fmla="*/ 9059 w 10000"/>
              <a:gd name="connsiteY24" fmla="*/ 9889 h 10000"/>
              <a:gd name="connsiteX25" fmla="*/ 8951 w 10000"/>
              <a:gd name="connsiteY25" fmla="*/ 9856 h 10000"/>
              <a:gd name="connsiteX26" fmla="*/ 7052 w 10000"/>
              <a:gd name="connsiteY26" fmla="*/ 8902 h 10000"/>
              <a:gd name="connsiteX27" fmla="*/ 6805 w 10000"/>
              <a:gd name="connsiteY27" fmla="*/ 8736 h 10000"/>
              <a:gd name="connsiteX28" fmla="*/ 6562 w 10000"/>
              <a:gd name="connsiteY28" fmla="*/ 8564 h 10000"/>
              <a:gd name="connsiteX29" fmla="*/ 6319 w 10000"/>
              <a:gd name="connsiteY29" fmla="*/ 8388 h 10000"/>
              <a:gd name="connsiteX30" fmla="*/ 6085 w 10000"/>
              <a:gd name="connsiteY30" fmla="*/ 8208 h 10000"/>
              <a:gd name="connsiteX31" fmla="*/ 5851 w 10000"/>
              <a:gd name="connsiteY31" fmla="*/ 8022 h 10000"/>
              <a:gd name="connsiteX32" fmla="*/ 5621 w 10000"/>
              <a:gd name="connsiteY32" fmla="*/ 7832 h 10000"/>
              <a:gd name="connsiteX33" fmla="*/ 5392 w 10000"/>
              <a:gd name="connsiteY33" fmla="*/ 7642 h 10000"/>
              <a:gd name="connsiteX34" fmla="*/ 5167 w 10000"/>
              <a:gd name="connsiteY34" fmla="*/ 7443 h 10000"/>
              <a:gd name="connsiteX35" fmla="*/ 5167 w 10000"/>
              <a:gd name="connsiteY35" fmla="*/ 7443 h 10000"/>
              <a:gd name="connsiteX36" fmla="*/ 4905 w 10000"/>
              <a:gd name="connsiteY36" fmla="*/ 7216 h 10000"/>
              <a:gd name="connsiteX37" fmla="*/ 4905 w 10000"/>
              <a:gd name="connsiteY37" fmla="*/ 7216 h 10000"/>
              <a:gd name="connsiteX38" fmla="*/ 4995 w 10000"/>
              <a:gd name="connsiteY38" fmla="*/ 7040 h 10000"/>
              <a:gd name="connsiteX39" fmla="*/ 5077 w 10000"/>
              <a:gd name="connsiteY39" fmla="*/ 6864 h 10000"/>
              <a:gd name="connsiteX40" fmla="*/ 5077 w 10000"/>
              <a:gd name="connsiteY40" fmla="*/ 6864 h 10000"/>
              <a:gd name="connsiteX41" fmla="*/ 5113 w 10000"/>
              <a:gd name="connsiteY41" fmla="*/ 6781 h 10000"/>
              <a:gd name="connsiteX42" fmla="*/ 5144 w 10000"/>
              <a:gd name="connsiteY42" fmla="*/ 6693 h 10000"/>
              <a:gd name="connsiteX43" fmla="*/ 5176 w 10000"/>
              <a:gd name="connsiteY43" fmla="*/ 6605 h 10000"/>
              <a:gd name="connsiteX44" fmla="*/ 5203 w 10000"/>
              <a:gd name="connsiteY44" fmla="*/ 6517 h 10000"/>
              <a:gd name="connsiteX45" fmla="*/ 5225 w 10000"/>
              <a:gd name="connsiteY45" fmla="*/ 6424 h 10000"/>
              <a:gd name="connsiteX46" fmla="*/ 5243 w 10000"/>
              <a:gd name="connsiteY46" fmla="*/ 6336 h 10000"/>
              <a:gd name="connsiteX47" fmla="*/ 5252 w 10000"/>
              <a:gd name="connsiteY47" fmla="*/ 6244 h 10000"/>
              <a:gd name="connsiteX48" fmla="*/ 5261 w 10000"/>
              <a:gd name="connsiteY48" fmla="*/ 6146 h 10000"/>
              <a:gd name="connsiteX49" fmla="*/ 5261 w 10000"/>
              <a:gd name="connsiteY49" fmla="*/ 6146 h 10000"/>
              <a:gd name="connsiteX50" fmla="*/ 5266 w 10000"/>
              <a:gd name="connsiteY50" fmla="*/ 6040 h 10000"/>
              <a:gd name="connsiteX51" fmla="*/ 5257 w 10000"/>
              <a:gd name="connsiteY51" fmla="*/ 5933 h 10000"/>
              <a:gd name="connsiteX52" fmla="*/ 5243 w 10000"/>
              <a:gd name="connsiteY52" fmla="*/ 5831 h 10000"/>
              <a:gd name="connsiteX53" fmla="*/ 5221 w 10000"/>
              <a:gd name="connsiteY53" fmla="*/ 5730 h 10000"/>
              <a:gd name="connsiteX54" fmla="*/ 5189 w 10000"/>
              <a:gd name="connsiteY54" fmla="*/ 5632 h 10000"/>
              <a:gd name="connsiteX55" fmla="*/ 5149 w 10000"/>
              <a:gd name="connsiteY55" fmla="*/ 5535 h 10000"/>
              <a:gd name="connsiteX56" fmla="*/ 5099 w 10000"/>
              <a:gd name="connsiteY56" fmla="*/ 5442 h 10000"/>
              <a:gd name="connsiteX57" fmla="*/ 5045 w 10000"/>
              <a:gd name="connsiteY57" fmla="*/ 5350 h 10000"/>
              <a:gd name="connsiteX58" fmla="*/ 5045 w 10000"/>
              <a:gd name="connsiteY58" fmla="*/ 5350 h 10000"/>
              <a:gd name="connsiteX59" fmla="*/ 4986 w 10000"/>
              <a:gd name="connsiteY59" fmla="*/ 5266 h 10000"/>
              <a:gd name="connsiteX60" fmla="*/ 4923 w 10000"/>
              <a:gd name="connsiteY60" fmla="*/ 5183 h 10000"/>
              <a:gd name="connsiteX61" fmla="*/ 4856 w 10000"/>
              <a:gd name="connsiteY61" fmla="*/ 5109 h 10000"/>
              <a:gd name="connsiteX62" fmla="*/ 4784 w 10000"/>
              <a:gd name="connsiteY62" fmla="*/ 5035 h 10000"/>
              <a:gd name="connsiteX63" fmla="*/ 4707 w 10000"/>
              <a:gd name="connsiteY63" fmla="*/ 4965 h 10000"/>
              <a:gd name="connsiteX64" fmla="*/ 4631 w 10000"/>
              <a:gd name="connsiteY64" fmla="*/ 4900 h 10000"/>
              <a:gd name="connsiteX65" fmla="*/ 4550 w 10000"/>
              <a:gd name="connsiteY65" fmla="*/ 4836 h 10000"/>
              <a:gd name="connsiteX66" fmla="*/ 4469 w 10000"/>
              <a:gd name="connsiteY66" fmla="*/ 4775 h 10000"/>
              <a:gd name="connsiteX67" fmla="*/ 4469 w 10000"/>
              <a:gd name="connsiteY67" fmla="*/ 4775 h 10000"/>
              <a:gd name="connsiteX68" fmla="*/ 4347 w 10000"/>
              <a:gd name="connsiteY68" fmla="*/ 4687 h 10000"/>
              <a:gd name="connsiteX69" fmla="*/ 4226 w 10000"/>
              <a:gd name="connsiteY69" fmla="*/ 4609 h 10000"/>
              <a:gd name="connsiteX70" fmla="*/ 4104 w 10000"/>
              <a:gd name="connsiteY70" fmla="*/ 4530 h 10000"/>
              <a:gd name="connsiteX71" fmla="*/ 3978 w 10000"/>
              <a:gd name="connsiteY71" fmla="*/ 4456 h 10000"/>
              <a:gd name="connsiteX72" fmla="*/ 3852 w 10000"/>
              <a:gd name="connsiteY72" fmla="*/ 4386 h 10000"/>
              <a:gd name="connsiteX73" fmla="*/ 3722 w 10000"/>
              <a:gd name="connsiteY73" fmla="*/ 4317 h 10000"/>
              <a:gd name="connsiteX74" fmla="*/ 3591 w 10000"/>
              <a:gd name="connsiteY74" fmla="*/ 4252 h 10000"/>
              <a:gd name="connsiteX75" fmla="*/ 3461 w 10000"/>
              <a:gd name="connsiteY75" fmla="*/ 4187 h 10000"/>
              <a:gd name="connsiteX76" fmla="*/ 3461 w 10000"/>
              <a:gd name="connsiteY76" fmla="*/ 4187 h 10000"/>
              <a:gd name="connsiteX77" fmla="*/ 3029 w 10000"/>
              <a:gd name="connsiteY77" fmla="*/ 3993 h 10000"/>
              <a:gd name="connsiteX78" fmla="*/ 2601 w 10000"/>
              <a:gd name="connsiteY78" fmla="*/ 3798 h 10000"/>
              <a:gd name="connsiteX79" fmla="*/ 1742 w 10000"/>
              <a:gd name="connsiteY79" fmla="*/ 3414 h 10000"/>
              <a:gd name="connsiteX80" fmla="*/ 1742 w 10000"/>
              <a:gd name="connsiteY80" fmla="*/ 3414 h 10000"/>
              <a:gd name="connsiteX81" fmla="*/ 1598 w 10000"/>
              <a:gd name="connsiteY81" fmla="*/ 3349 h 10000"/>
              <a:gd name="connsiteX82" fmla="*/ 1454 w 10000"/>
              <a:gd name="connsiteY82" fmla="*/ 3279 h 10000"/>
              <a:gd name="connsiteX83" fmla="*/ 1314 w 10000"/>
              <a:gd name="connsiteY83" fmla="*/ 3205 h 10000"/>
              <a:gd name="connsiteX84" fmla="*/ 1179 w 10000"/>
              <a:gd name="connsiteY84" fmla="*/ 3126 h 10000"/>
              <a:gd name="connsiteX85" fmla="*/ 1049 w 10000"/>
              <a:gd name="connsiteY85" fmla="*/ 3038 h 10000"/>
              <a:gd name="connsiteX86" fmla="*/ 923 w 10000"/>
              <a:gd name="connsiteY86" fmla="*/ 2946 h 10000"/>
              <a:gd name="connsiteX87" fmla="*/ 797 w 10000"/>
              <a:gd name="connsiteY87" fmla="*/ 2849 h 10000"/>
              <a:gd name="connsiteX88" fmla="*/ 680 w 10000"/>
              <a:gd name="connsiteY88" fmla="*/ 2742 h 10000"/>
              <a:gd name="connsiteX89" fmla="*/ 680 w 10000"/>
              <a:gd name="connsiteY89" fmla="*/ 2742 h 10000"/>
              <a:gd name="connsiteX90" fmla="*/ 590 w 10000"/>
              <a:gd name="connsiteY90" fmla="*/ 2649 h 10000"/>
              <a:gd name="connsiteX91" fmla="*/ 504 w 10000"/>
              <a:gd name="connsiteY91" fmla="*/ 2557 h 10000"/>
              <a:gd name="connsiteX92" fmla="*/ 423 w 10000"/>
              <a:gd name="connsiteY92" fmla="*/ 2459 h 10000"/>
              <a:gd name="connsiteX93" fmla="*/ 356 w 10000"/>
              <a:gd name="connsiteY93" fmla="*/ 2362 h 10000"/>
              <a:gd name="connsiteX94" fmla="*/ 288 w 10000"/>
              <a:gd name="connsiteY94" fmla="*/ 2260 h 10000"/>
              <a:gd name="connsiteX95" fmla="*/ 230 w 10000"/>
              <a:gd name="connsiteY95" fmla="*/ 2154 h 10000"/>
              <a:gd name="connsiteX96" fmla="*/ 180 w 10000"/>
              <a:gd name="connsiteY96" fmla="*/ 2047 h 10000"/>
              <a:gd name="connsiteX97" fmla="*/ 131 w 10000"/>
              <a:gd name="connsiteY97" fmla="*/ 1941 h 10000"/>
              <a:gd name="connsiteX98" fmla="*/ 95 w 10000"/>
              <a:gd name="connsiteY98" fmla="*/ 1830 h 10000"/>
              <a:gd name="connsiteX99" fmla="*/ 63 w 10000"/>
              <a:gd name="connsiteY99" fmla="*/ 1714 h 10000"/>
              <a:gd name="connsiteX100" fmla="*/ 36 w 10000"/>
              <a:gd name="connsiteY100" fmla="*/ 1593 h 10000"/>
              <a:gd name="connsiteX101" fmla="*/ 18 w 10000"/>
              <a:gd name="connsiteY101" fmla="*/ 1473 h 10000"/>
              <a:gd name="connsiteX102" fmla="*/ 5 w 10000"/>
              <a:gd name="connsiteY102" fmla="*/ 1352 h 10000"/>
              <a:gd name="connsiteX103" fmla="*/ 0 w 10000"/>
              <a:gd name="connsiteY103" fmla="*/ 1227 h 10000"/>
              <a:gd name="connsiteX104" fmla="*/ 0 w 10000"/>
              <a:gd name="connsiteY104" fmla="*/ 1098 h 10000"/>
              <a:gd name="connsiteX105" fmla="*/ 9 w 10000"/>
              <a:gd name="connsiteY105" fmla="*/ 968 h 10000"/>
              <a:gd name="connsiteX106" fmla="*/ 9 w 10000"/>
              <a:gd name="connsiteY106" fmla="*/ 968 h 10000"/>
              <a:gd name="connsiteX107" fmla="*/ 23 w 10000"/>
              <a:gd name="connsiteY107" fmla="*/ 848 h 10000"/>
              <a:gd name="connsiteX108" fmla="*/ 41 w 10000"/>
              <a:gd name="connsiteY108" fmla="*/ 727 h 10000"/>
              <a:gd name="connsiteX109" fmla="*/ 68 w 10000"/>
              <a:gd name="connsiteY109" fmla="*/ 607 h 10000"/>
              <a:gd name="connsiteX110" fmla="*/ 95 w 10000"/>
              <a:gd name="connsiteY110" fmla="*/ 491 h 10000"/>
              <a:gd name="connsiteX111" fmla="*/ 131 w 10000"/>
              <a:gd name="connsiteY111" fmla="*/ 375 h 10000"/>
              <a:gd name="connsiteX112" fmla="*/ 171 w 10000"/>
              <a:gd name="connsiteY112" fmla="*/ 259 h 10000"/>
              <a:gd name="connsiteX113" fmla="*/ 212 w 10000"/>
              <a:gd name="connsiteY113" fmla="*/ 148 h 10000"/>
              <a:gd name="connsiteX114" fmla="*/ 266 w 10000"/>
              <a:gd name="connsiteY114" fmla="*/ 37 h 10000"/>
              <a:gd name="connsiteX115" fmla="*/ 266 w 10000"/>
              <a:gd name="connsiteY115" fmla="*/ 37 h 10000"/>
              <a:gd name="connsiteX116" fmla="*/ 275 w 10000"/>
              <a:gd name="connsiteY116" fmla="*/ 0 h 10000"/>
              <a:gd name="connsiteX117" fmla="*/ 275 w 10000"/>
              <a:gd name="connsiteY117" fmla="*/ 0 h 10000"/>
              <a:gd name="connsiteX0" fmla="*/ 275 w 10000"/>
              <a:gd name="connsiteY0" fmla="*/ 0 h 10000"/>
              <a:gd name="connsiteX1" fmla="*/ 275 w 10000"/>
              <a:gd name="connsiteY1" fmla="*/ 0 h 10000"/>
              <a:gd name="connsiteX2" fmla="*/ 10000 w 10000"/>
              <a:gd name="connsiteY2" fmla="*/ 0 h 10000"/>
              <a:gd name="connsiteX3" fmla="*/ 10000 w 10000"/>
              <a:gd name="connsiteY3" fmla="*/ 0 h 10000"/>
              <a:gd name="connsiteX4" fmla="*/ 10000 w 10000"/>
              <a:gd name="connsiteY4" fmla="*/ 74 h 10000"/>
              <a:gd name="connsiteX5" fmla="*/ 10000 w 10000"/>
              <a:gd name="connsiteY5" fmla="*/ 74 h 10000"/>
              <a:gd name="connsiteX6" fmla="*/ 10000 w 10000"/>
              <a:gd name="connsiteY6" fmla="*/ 9893 h 10000"/>
              <a:gd name="connsiteX7" fmla="*/ 10000 w 10000"/>
              <a:gd name="connsiteY7" fmla="*/ 9893 h 10000"/>
              <a:gd name="connsiteX8" fmla="*/ 10000 w 10000"/>
              <a:gd name="connsiteY8" fmla="*/ 9940 h 10000"/>
              <a:gd name="connsiteX9" fmla="*/ 10000 w 10000"/>
              <a:gd name="connsiteY9" fmla="*/ 9940 h 10000"/>
              <a:gd name="connsiteX10" fmla="*/ 10000 w 10000"/>
              <a:gd name="connsiteY10" fmla="*/ 9958 h 10000"/>
              <a:gd name="connsiteX11" fmla="*/ 9991 w 10000"/>
              <a:gd name="connsiteY11" fmla="*/ 9972 h 10000"/>
              <a:gd name="connsiteX12" fmla="*/ 9982 w 10000"/>
              <a:gd name="connsiteY12" fmla="*/ 9981 h 10000"/>
              <a:gd name="connsiteX13" fmla="*/ 9959 w 10000"/>
              <a:gd name="connsiteY13" fmla="*/ 9991 h 10000"/>
              <a:gd name="connsiteX14" fmla="*/ 9959 w 10000"/>
              <a:gd name="connsiteY14" fmla="*/ 9991 h 10000"/>
              <a:gd name="connsiteX15" fmla="*/ 9905 w 10000"/>
              <a:gd name="connsiteY15" fmla="*/ 9995 h 10000"/>
              <a:gd name="connsiteX16" fmla="*/ 9847 w 10000"/>
              <a:gd name="connsiteY16" fmla="*/ 10000 h 10000"/>
              <a:gd name="connsiteX17" fmla="*/ 9734 w 10000"/>
              <a:gd name="connsiteY17" fmla="*/ 10000 h 10000"/>
              <a:gd name="connsiteX18" fmla="*/ 9626 w 10000"/>
              <a:gd name="connsiteY18" fmla="*/ 9995 h 10000"/>
              <a:gd name="connsiteX19" fmla="*/ 9514 w 10000"/>
              <a:gd name="connsiteY19" fmla="*/ 9981 h 10000"/>
              <a:gd name="connsiteX20" fmla="*/ 9514 w 10000"/>
              <a:gd name="connsiteY20" fmla="*/ 9981 h 10000"/>
              <a:gd name="connsiteX21" fmla="*/ 9397 w 10000"/>
              <a:gd name="connsiteY21" fmla="*/ 9963 h 10000"/>
              <a:gd name="connsiteX22" fmla="*/ 9284 w 10000"/>
              <a:gd name="connsiteY22" fmla="*/ 9944 h 10000"/>
              <a:gd name="connsiteX23" fmla="*/ 9172 w 10000"/>
              <a:gd name="connsiteY23" fmla="*/ 9917 h 10000"/>
              <a:gd name="connsiteX24" fmla="*/ 9059 w 10000"/>
              <a:gd name="connsiteY24" fmla="*/ 9889 h 10000"/>
              <a:gd name="connsiteX25" fmla="*/ 7052 w 10000"/>
              <a:gd name="connsiteY25" fmla="*/ 8902 h 10000"/>
              <a:gd name="connsiteX26" fmla="*/ 6805 w 10000"/>
              <a:gd name="connsiteY26" fmla="*/ 8736 h 10000"/>
              <a:gd name="connsiteX27" fmla="*/ 6562 w 10000"/>
              <a:gd name="connsiteY27" fmla="*/ 8564 h 10000"/>
              <a:gd name="connsiteX28" fmla="*/ 6319 w 10000"/>
              <a:gd name="connsiteY28" fmla="*/ 8388 h 10000"/>
              <a:gd name="connsiteX29" fmla="*/ 6085 w 10000"/>
              <a:gd name="connsiteY29" fmla="*/ 8208 h 10000"/>
              <a:gd name="connsiteX30" fmla="*/ 5851 w 10000"/>
              <a:gd name="connsiteY30" fmla="*/ 8022 h 10000"/>
              <a:gd name="connsiteX31" fmla="*/ 5621 w 10000"/>
              <a:gd name="connsiteY31" fmla="*/ 7832 h 10000"/>
              <a:gd name="connsiteX32" fmla="*/ 5392 w 10000"/>
              <a:gd name="connsiteY32" fmla="*/ 7642 h 10000"/>
              <a:gd name="connsiteX33" fmla="*/ 5167 w 10000"/>
              <a:gd name="connsiteY33" fmla="*/ 7443 h 10000"/>
              <a:gd name="connsiteX34" fmla="*/ 5167 w 10000"/>
              <a:gd name="connsiteY34" fmla="*/ 7443 h 10000"/>
              <a:gd name="connsiteX35" fmla="*/ 4905 w 10000"/>
              <a:gd name="connsiteY35" fmla="*/ 7216 h 10000"/>
              <a:gd name="connsiteX36" fmla="*/ 4905 w 10000"/>
              <a:gd name="connsiteY36" fmla="*/ 7216 h 10000"/>
              <a:gd name="connsiteX37" fmla="*/ 4995 w 10000"/>
              <a:gd name="connsiteY37" fmla="*/ 7040 h 10000"/>
              <a:gd name="connsiteX38" fmla="*/ 5077 w 10000"/>
              <a:gd name="connsiteY38" fmla="*/ 6864 h 10000"/>
              <a:gd name="connsiteX39" fmla="*/ 5077 w 10000"/>
              <a:gd name="connsiteY39" fmla="*/ 6864 h 10000"/>
              <a:gd name="connsiteX40" fmla="*/ 5113 w 10000"/>
              <a:gd name="connsiteY40" fmla="*/ 6781 h 10000"/>
              <a:gd name="connsiteX41" fmla="*/ 5144 w 10000"/>
              <a:gd name="connsiteY41" fmla="*/ 6693 h 10000"/>
              <a:gd name="connsiteX42" fmla="*/ 5176 w 10000"/>
              <a:gd name="connsiteY42" fmla="*/ 6605 h 10000"/>
              <a:gd name="connsiteX43" fmla="*/ 5203 w 10000"/>
              <a:gd name="connsiteY43" fmla="*/ 6517 h 10000"/>
              <a:gd name="connsiteX44" fmla="*/ 5225 w 10000"/>
              <a:gd name="connsiteY44" fmla="*/ 6424 h 10000"/>
              <a:gd name="connsiteX45" fmla="*/ 5243 w 10000"/>
              <a:gd name="connsiteY45" fmla="*/ 6336 h 10000"/>
              <a:gd name="connsiteX46" fmla="*/ 5252 w 10000"/>
              <a:gd name="connsiteY46" fmla="*/ 6244 h 10000"/>
              <a:gd name="connsiteX47" fmla="*/ 5261 w 10000"/>
              <a:gd name="connsiteY47" fmla="*/ 6146 h 10000"/>
              <a:gd name="connsiteX48" fmla="*/ 5261 w 10000"/>
              <a:gd name="connsiteY48" fmla="*/ 6146 h 10000"/>
              <a:gd name="connsiteX49" fmla="*/ 5266 w 10000"/>
              <a:gd name="connsiteY49" fmla="*/ 6040 h 10000"/>
              <a:gd name="connsiteX50" fmla="*/ 5257 w 10000"/>
              <a:gd name="connsiteY50" fmla="*/ 5933 h 10000"/>
              <a:gd name="connsiteX51" fmla="*/ 5243 w 10000"/>
              <a:gd name="connsiteY51" fmla="*/ 5831 h 10000"/>
              <a:gd name="connsiteX52" fmla="*/ 5221 w 10000"/>
              <a:gd name="connsiteY52" fmla="*/ 5730 h 10000"/>
              <a:gd name="connsiteX53" fmla="*/ 5189 w 10000"/>
              <a:gd name="connsiteY53" fmla="*/ 5632 h 10000"/>
              <a:gd name="connsiteX54" fmla="*/ 5149 w 10000"/>
              <a:gd name="connsiteY54" fmla="*/ 5535 h 10000"/>
              <a:gd name="connsiteX55" fmla="*/ 5099 w 10000"/>
              <a:gd name="connsiteY55" fmla="*/ 5442 h 10000"/>
              <a:gd name="connsiteX56" fmla="*/ 5045 w 10000"/>
              <a:gd name="connsiteY56" fmla="*/ 5350 h 10000"/>
              <a:gd name="connsiteX57" fmla="*/ 5045 w 10000"/>
              <a:gd name="connsiteY57" fmla="*/ 5350 h 10000"/>
              <a:gd name="connsiteX58" fmla="*/ 4986 w 10000"/>
              <a:gd name="connsiteY58" fmla="*/ 5266 h 10000"/>
              <a:gd name="connsiteX59" fmla="*/ 4923 w 10000"/>
              <a:gd name="connsiteY59" fmla="*/ 5183 h 10000"/>
              <a:gd name="connsiteX60" fmla="*/ 4856 w 10000"/>
              <a:gd name="connsiteY60" fmla="*/ 5109 h 10000"/>
              <a:gd name="connsiteX61" fmla="*/ 4784 w 10000"/>
              <a:gd name="connsiteY61" fmla="*/ 5035 h 10000"/>
              <a:gd name="connsiteX62" fmla="*/ 4707 w 10000"/>
              <a:gd name="connsiteY62" fmla="*/ 4965 h 10000"/>
              <a:gd name="connsiteX63" fmla="*/ 4631 w 10000"/>
              <a:gd name="connsiteY63" fmla="*/ 4900 h 10000"/>
              <a:gd name="connsiteX64" fmla="*/ 4550 w 10000"/>
              <a:gd name="connsiteY64" fmla="*/ 4836 h 10000"/>
              <a:gd name="connsiteX65" fmla="*/ 4469 w 10000"/>
              <a:gd name="connsiteY65" fmla="*/ 4775 h 10000"/>
              <a:gd name="connsiteX66" fmla="*/ 4469 w 10000"/>
              <a:gd name="connsiteY66" fmla="*/ 4775 h 10000"/>
              <a:gd name="connsiteX67" fmla="*/ 4347 w 10000"/>
              <a:gd name="connsiteY67" fmla="*/ 4687 h 10000"/>
              <a:gd name="connsiteX68" fmla="*/ 4226 w 10000"/>
              <a:gd name="connsiteY68" fmla="*/ 4609 h 10000"/>
              <a:gd name="connsiteX69" fmla="*/ 4104 w 10000"/>
              <a:gd name="connsiteY69" fmla="*/ 4530 h 10000"/>
              <a:gd name="connsiteX70" fmla="*/ 3978 w 10000"/>
              <a:gd name="connsiteY70" fmla="*/ 4456 h 10000"/>
              <a:gd name="connsiteX71" fmla="*/ 3852 w 10000"/>
              <a:gd name="connsiteY71" fmla="*/ 4386 h 10000"/>
              <a:gd name="connsiteX72" fmla="*/ 3722 w 10000"/>
              <a:gd name="connsiteY72" fmla="*/ 4317 h 10000"/>
              <a:gd name="connsiteX73" fmla="*/ 3591 w 10000"/>
              <a:gd name="connsiteY73" fmla="*/ 4252 h 10000"/>
              <a:gd name="connsiteX74" fmla="*/ 3461 w 10000"/>
              <a:gd name="connsiteY74" fmla="*/ 4187 h 10000"/>
              <a:gd name="connsiteX75" fmla="*/ 3461 w 10000"/>
              <a:gd name="connsiteY75" fmla="*/ 4187 h 10000"/>
              <a:gd name="connsiteX76" fmla="*/ 3029 w 10000"/>
              <a:gd name="connsiteY76" fmla="*/ 3993 h 10000"/>
              <a:gd name="connsiteX77" fmla="*/ 2601 w 10000"/>
              <a:gd name="connsiteY77" fmla="*/ 3798 h 10000"/>
              <a:gd name="connsiteX78" fmla="*/ 1742 w 10000"/>
              <a:gd name="connsiteY78" fmla="*/ 3414 h 10000"/>
              <a:gd name="connsiteX79" fmla="*/ 1742 w 10000"/>
              <a:gd name="connsiteY79" fmla="*/ 3414 h 10000"/>
              <a:gd name="connsiteX80" fmla="*/ 1598 w 10000"/>
              <a:gd name="connsiteY80" fmla="*/ 3349 h 10000"/>
              <a:gd name="connsiteX81" fmla="*/ 1454 w 10000"/>
              <a:gd name="connsiteY81" fmla="*/ 3279 h 10000"/>
              <a:gd name="connsiteX82" fmla="*/ 1314 w 10000"/>
              <a:gd name="connsiteY82" fmla="*/ 3205 h 10000"/>
              <a:gd name="connsiteX83" fmla="*/ 1179 w 10000"/>
              <a:gd name="connsiteY83" fmla="*/ 3126 h 10000"/>
              <a:gd name="connsiteX84" fmla="*/ 1049 w 10000"/>
              <a:gd name="connsiteY84" fmla="*/ 3038 h 10000"/>
              <a:gd name="connsiteX85" fmla="*/ 923 w 10000"/>
              <a:gd name="connsiteY85" fmla="*/ 2946 h 10000"/>
              <a:gd name="connsiteX86" fmla="*/ 797 w 10000"/>
              <a:gd name="connsiteY86" fmla="*/ 2849 h 10000"/>
              <a:gd name="connsiteX87" fmla="*/ 680 w 10000"/>
              <a:gd name="connsiteY87" fmla="*/ 2742 h 10000"/>
              <a:gd name="connsiteX88" fmla="*/ 680 w 10000"/>
              <a:gd name="connsiteY88" fmla="*/ 2742 h 10000"/>
              <a:gd name="connsiteX89" fmla="*/ 590 w 10000"/>
              <a:gd name="connsiteY89" fmla="*/ 2649 h 10000"/>
              <a:gd name="connsiteX90" fmla="*/ 504 w 10000"/>
              <a:gd name="connsiteY90" fmla="*/ 2557 h 10000"/>
              <a:gd name="connsiteX91" fmla="*/ 423 w 10000"/>
              <a:gd name="connsiteY91" fmla="*/ 2459 h 10000"/>
              <a:gd name="connsiteX92" fmla="*/ 356 w 10000"/>
              <a:gd name="connsiteY92" fmla="*/ 2362 h 10000"/>
              <a:gd name="connsiteX93" fmla="*/ 288 w 10000"/>
              <a:gd name="connsiteY93" fmla="*/ 2260 h 10000"/>
              <a:gd name="connsiteX94" fmla="*/ 230 w 10000"/>
              <a:gd name="connsiteY94" fmla="*/ 2154 h 10000"/>
              <a:gd name="connsiteX95" fmla="*/ 180 w 10000"/>
              <a:gd name="connsiteY95" fmla="*/ 2047 h 10000"/>
              <a:gd name="connsiteX96" fmla="*/ 131 w 10000"/>
              <a:gd name="connsiteY96" fmla="*/ 1941 h 10000"/>
              <a:gd name="connsiteX97" fmla="*/ 95 w 10000"/>
              <a:gd name="connsiteY97" fmla="*/ 1830 h 10000"/>
              <a:gd name="connsiteX98" fmla="*/ 63 w 10000"/>
              <a:gd name="connsiteY98" fmla="*/ 1714 h 10000"/>
              <a:gd name="connsiteX99" fmla="*/ 36 w 10000"/>
              <a:gd name="connsiteY99" fmla="*/ 1593 h 10000"/>
              <a:gd name="connsiteX100" fmla="*/ 18 w 10000"/>
              <a:gd name="connsiteY100" fmla="*/ 1473 h 10000"/>
              <a:gd name="connsiteX101" fmla="*/ 5 w 10000"/>
              <a:gd name="connsiteY101" fmla="*/ 1352 h 10000"/>
              <a:gd name="connsiteX102" fmla="*/ 0 w 10000"/>
              <a:gd name="connsiteY102" fmla="*/ 1227 h 10000"/>
              <a:gd name="connsiteX103" fmla="*/ 0 w 10000"/>
              <a:gd name="connsiteY103" fmla="*/ 1098 h 10000"/>
              <a:gd name="connsiteX104" fmla="*/ 9 w 10000"/>
              <a:gd name="connsiteY104" fmla="*/ 968 h 10000"/>
              <a:gd name="connsiteX105" fmla="*/ 9 w 10000"/>
              <a:gd name="connsiteY105" fmla="*/ 968 h 10000"/>
              <a:gd name="connsiteX106" fmla="*/ 23 w 10000"/>
              <a:gd name="connsiteY106" fmla="*/ 848 h 10000"/>
              <a:gd name="connsiteX107" fmla="*/ 41 w 10000"/>
              <a:gd name="connsiteY107" fmla="*/ 727 h 10000"/>
              <a:gd name="connsiteX108" fmla="*/ 68 w 10000"/>
              <a:gd name="connsiteY108" fmla="*/ 607 h 10000"/>
              <a:gd name="connsiteX109" fmla="*/ 95 w 10000"/>
              <a:gd name="connsiteY109" fmla="*/ 491 h 10000"/>
              <a:gd name="connsiteX110" fmla="*/ 131 w 10000"/>
              <a:gd name="connsiteY110" fmla="*/ 375 h 10000"/>
              <a:gd name="connsiteX111" fmla="*/ 171 w 10000"/>
              <a:gd name="connsiteY111" fmla="*/ 259 h 10000"/>
              <a:gd name="connsiteX112" fmla="*/ 212 w 10000"/>
              <a:gd name="connsiteY112" fmla="*/ 148 h 10000"/>
              <a:gd name="connsiteX113" fmla="*/ 266 w 10000"/>
              <a:gd name="connsiteY113" fmla="*/ 37 h 10000"/>
              <a:gd name="connsiteX114" fmla="*/ 266 w 10000"/>
              <a:gd name="connsiteY114" fmla="*/ 37 h 10000"/>
              <a:gd name="connsiteX115" fmla="*/ 275 w 10000"/>
              <a:gd name="connsiteY115" fmla="*/ 0 h 10000"/>
              <a:gd name="connsiteX116" fmla="*/ 275 w 10000"/>
              <a:gd name="connsiteY116" fmla="*/ 0 h 10000"/>
              <a:gd name="connsiteX0" fmla="*/ 275 w 10000"/>
              <a:gd name="connsiteY0" fmla="*/ 0 h 10091"/>
              <a:gd name="connsiteX1" fmla="*/ 275 w 10000"/>
              <a:gd name="connsiteY1" fmla="*/ 0 h 10091"/>
              <a:gd name="connsiteX2" fmla="*/ 10000 w 10000"/>
              <a:gd name="connsiteY2" fmla="*/ 0 h 10091"/>
              <a:gd name="connsiteX3" fmla="*/ 10000 w 10000"/>
              <a:gd name="connsiteY3" fmla="*/ 0 h 10091"/>
              <a:gd name="connsiteX4" fmla="*/ 10000 w 10000"/>
              <a:gd name="connsiteY4" fmla="*/ 74 h 10091"/>
              <a:gd name="connsiteX5" fmla="*/ 10000 w 10000"/>
              <a:gd name="connsiteY5" fmla="*/ 74 h 10091"/>
              <a:gd name="connsiteX6" fmla="*/ 10000 w 10000"/>
              <a:gd name="connsiteY6" fmla="*/ 9893 h 10091"/>
              <a:gd name="connsiteX7" fmla="*/ 10000 w 10000"/>
              <a:gd name="connsiteY7" fmla="*/ 9893 h 10091"/>
              <a:gd name="connsiteX8" fmla="*/ 10000 w 10000"/>
              <a:gd name="connsiteY8" fmla="*/ 9940 h 10091"/>
              <a:gd name="connsiteX9" fmla="*/ 10000 w 10000"/>
              <a:gd name="connsiteY9" fmla="*/ 9940 h 10091"/>
              <a:gd name="connsiteX10" fmla="*/ 10000 w 10000"/>
              <a:gd name="connsiteY10" fmla="*/ 9958 h 10091"/>
              <a:gd name="connsiteX11" fmla="*/ 9991 w 10000"/>
              <a:gd name="connsiteY11" fmla="*/ 9972 h 10091"/>
              <a:gd name="connsiteX12" fmla="*/ 9982 w 10000"/>
              <a:gd name="connsiteY12" fmla="*/ 9981 h 10091"/>
              <a:gd name="connsiteX13" fmla="*/ 9959 w 10000"/>
              <a:gd name="connsiteY13" fmla="*/ 9991 h 10091"/>
              <a:gd name="connsiteX14" fmla="*/ 9959 w 10000"/>
              <a:gd name="connsiteY14" fmla="*/ 9991 h 10091"/>
              <a:gd name="connsiteX15" fmla="*/ 9905 w 10000"/>
              <a:gd name="connsiteY15" fmla="*/ 9995 h 10091"/>
              <a:gd name="connsiteX16" fmla="*/ 9847 w 10000"/>
              <a:gd name="connsiteY16" fmla="*/ 10000 h 10091"/>
              <a:gd name="connsiteX17" fmla="*/ 9734 w 10000"/>
              <a:gd name="connsiteY17" fmla="*/ 10000 h 10091"/>
              <a:gd name="connsiteX18" fmla="*/ 9626 w 10000"/>
              <a:gd name="connsiteY18" fmla="*/ 9995 h 10091"/>
              <a:gd name="connsiteX19" fmla="*/ 9514 w 10000"/>
              <a:gd name="connsiteY19" fmla="*/ 9981 h 10091"/>
              <a:gd name="connsiteX20" fmla="*/ 9514 w 10000"/>
              <a:gd name="connsiteY20" fmla="*/ 9981 h 10091"/>
              <a:gd name="connsiteX21" fmla="*/ 9397 w 10000"/>
              <a:gd name="connsiteY21" fmla="*/ 9963 h 10091"/>
              <a:gd name="connsiteX22" fmla="*/ 9284 w 10000"/>
              <a:gd name="connsiteY22" fmla="*/ 9944 h 10091"/>
              <a:gd name="connsiteX23" fmla="*/ 9172 w 10000"/>
              <a:gd name="connsiteY23" fmla="*/ 9917 h 10091"/>
              <a:gd name="connsiteX24" fmla="*/ 7052 w 10000"/>
              <a:gd name="connsiteY24" fmla="*/ 8902 h 10091"/>
              <a:gd name="connsiteX25" fmla="*/ 6805 w 10000"/>
              <a:gd name="connsiteY25" fmla="*/ 8736 h 10091"/>
              <a:gd name="connsiteX26" fmla="*/ 6562 w 10000"/>
              <a:gd name="connsiteY26" fmla="*/ 8564 h 10091"/>
              <a:gd name="connsiteX27" fmla="*/ 6319 w 10000"/>
              <a:gd name="connsiteY27" fmla="*/ 8388 h 10091"/>
              <a:gd name="connsiteX28" fmla="*/ 6085 w 10000"/>
              <a:gd name="connsiteY28" fmla="*/ 8208 h 10091"/>
              <a:gd name="connsiteX29" fmla="*/ 5851 w 10000"/>
              <a:gd name="connsiteY29" fmla="*/ 8022 h 10091"/>
              <a:gd name="connsiteX30" fmla="*/ 5621 w 10000"/>
              <a:gd name="connsiteY30" fmla="*/ 7832 h 10091"/>
              <a:gd name="connsiteX31" fmla="*/ 5392 w 10000"/>
              <a:gd name="connsiteY31" fmla="*/ 7642 h 10091"/>
              <a:gd name="connsiteX32" fmla="*/ 5167 w 10000"/>
              <a:gd name="connsiteY32" fmla="*/ 7443 h 10091"/>
              <a:gd name="connsiteX33" fmla="*/ 5167 w 10000"/>
              <a:gd name="connsiteY33" fmla="*/ 7443 h 10091"/>
              <a:gd name="connsiteX34" fmla="*/ 4905 w 10000"/>
              <a:gd name="connsiteY34" fmla="*/ 7216 h 10091"/>
              <a:gd name="connsiteX35" fmla="*/ 4905 w 10000"/>
              <a:gd name="connsiteY35" fmla="*/ 7216 h 10091"/>
              <a:gd name="connsiteX36" fmla="*/ 4995 w 10000"/>
              <a:gd name="connsiteY36" fmla="*/ 7040 h 10091"/>
              <a:gd name="connsiteX37" fmla="*/ 5077 w 10000"/>
              <a:gd name="connsiteY37" fmla="*/ 6864 h 10091"/>
              <a:gd name="connsiteX38" fmla="*/ 5077 w 10000"/>
              <a:gd name="connsiteY38" fmla="*/ 6864 h 10091"/>
              <a:gd name="connsiteX39" fmla="*/ 5113 w 10000"/>
              <a:gd name="connsiteY39" fmla="*/ 6781 h 10091"/>
              <a:gd name="connsiteX40" fmla="*/ 5144 w 10000"/>
              <a:gd name="connsiteY40" fmla="*/ 6693 h 10091"/>
              <a:gd name="connsiteX41" fmla="*/ 5176 w 10000"/>
              <a:gd name="connsiteY41" fmla="*/ 6605 h 10091"/>
              <a:gd name="connsiteX42" fmla="*/ 5203 w 10000"/>
              <a:gd name="connsiteY42" fmla="*/ 6517 h 10091"/>
              <a:gd name="connsiteX43" fmla="*/ 5225 w 10000"/>
              <a:gd name="connsiteY43" fmla="*/ 6424 h 10091"/>
              <a:gd name="connsiteX44" fmla="*/ 5243 w 10000"/>
              <a:gd name="connsiteY44" fmla="*/ 6336 h 10091"/>
              <a:gd name="connsiteX45" fmla="*/ 5252 w 10000"/>
              <a:gd name="connsiteY45" fmla="*/ 6244 h 10091"/>
              <a:gd name="connsiteX46" fmla="*/ 5261 w 10000"/>
              <a:gd name="connsiteY46" fmla="*/ 6146 h 10091"/>
              <a:gd name="connsiteX47" fmla="*/ 5261 w 10000"/>
              <a:gd name="connsiteY47" fmla="*/ 6146 h 10091"/>
              <a:gd name="connsiteX48" fmla="*/ 5266 w 10000"/>
              <a:gd name="connsiteY48" fmla="*/ 6040 h 10091"/>
              <a:gd name="connsiteX49" fmla="*/ 5257 w 10000"/>
              <a:gd name="connsiteY49" fmla="*/ 5933 h 10091"/>
              <a:gd name="connsiteX50" fmla="*/ 5243 w 10000"/>
              <a:gd name="connsiteY50" fmla="*/ 5831 h 10091"/>
              <a:gd name="connsiteX51" fmla="*/ 5221 w 10000"/>
              <a:gd name="connsiteY51" fmla="*/ 5730 h 10091"/>
              <a:gd name="connsiteX52" fmla="*/ 5189 w 10000"/>
              <a:gd name="connsiteY52" fmla="*/ 5632 h 10091"/>
              <a:gd name="connsiteX53" fmla="*/ 5149 w 10000"/>
              <a:gd name="connsiteY53" fmla="*/ 5535 h 10091"/>
              <a:gd name="connsiteX54" fmla="*/ 5099 w 10000"/>
              <a:gd name="connsiteY54" fmla="*/ 5442 h 10091"/>
              <a:gd name="connsiteX55" fmla="*/ 5045 w 10000"/>
              <a:gd name="connsiteY55" fmla="*/ 5350 h 10091"/>
              <a:gd name="connsiteX56" fmla="*/ 5045 w 10000"/>
              <a:gd name="connsiteY56" fmla="*/ 5350 h 10091"/>
              <a:gd name="connsiteX57" fmla="*/ 4986 w 10000"/>
              <a:gd name="connsiteY57" fmla="*/ 5266 h 10091"/>
              <a:gd name="connsiteX58" fmla="*/ 4923 w 10000"/>
              <a:gd name="connsiteY58" fmla="*/ 5183 h 10091"/>
              <a:gd name="connsiteX59" fmla="*/ 4856 w 10000"/>
              <a:gd name="connsiteY59" fmla="*/ 5109 h 10091"/>
              <a:gd name="connsiteX60" fmla="*/ 4784 w 10000"/>
              <a:gd name="connsiteY60" fmla="*/ 5035 h 10091"/>
              <a:gd name="connsiteX61" fmla="*/ 4707 w 10000"/>
              <a:gd name="connsiteY61" fmla="*/ 4965 h 10091"/>
              <a:gd name="connsiteX62" fmla="*/ 4631 w 10000"/>
              <a:gd name="connsiteY62" fmla="*/ 4900 h 10091"/>
              <a:gd name="connsiteX63" fmla="*/ 4550 w 10000"/>
              <a:gd name="connsiteY63" fmla="*/ 4836 h 10091"/>
              <a:gd name="connsiteX64" fmla="*/ 4469 w 10000"/>
              <a:gd name="connsiteY64" fmla="*/ 4775 h 10091"/>
              <a:gd name="connsiteX65" fmla="*/ 4469 w 10000"/>
              <a:gd name="connsiteY65" fmla="*/ 4775 h 10091"/>
              <a:gd name="connsiteX66" fmla="*/ 4347 w 10000"/>
              <a:gd name="connsiteY66" fmla="*/ 4687 h 10091"/>
              <a:gd name="connsiteX67" fmla="*/ 4226 w 10000"/>
              <a:gd name="connsiteY67" fmla="*/ 4609 h 10091"/>
              <a:gd name="connsiteX68" fmla="*/ 4104 w 10000"/>
              <a:gd name="connsiteY68" fmla="*/ 4530 h 10091"/>
              <a:gd name="connsiteX69" fmla="*/ 3978 w 10000"/>
              <a:gd name="connsiteY69" fmla="*/ 4456 h 10091"/>
              <a:gd name="connsiteX70" fmla="*/ 3852 w 10000"/>
              <a:gd name="connsiteY70" fmla="*/ 4386 h 10091"/>
              <a:gd name="connsiteX71" fmla="*/ 3722 w 10000"/>
              <a:gd name="connsiteY71" fmla="*/ 4317 h 10091"/>
              <a:gd name="connsiteX72" fmla="*/ 3591 w 10000"/>
              <a:gd name="connsiteY72" fmla="*/ 4252 h 10091"/>
              <a:gd name="connsiteX73" fmla="*/ 3461 w 10000"/>
              <a:gd name="connsiteY73" fmla="*/ 4187 h 10091"/>
              <a:gd name="connsiteX74" fmla="*/ 3461 w 10000"/>
              <a:gd name="connsiteY74" fmla="*/ 4187 h 10091"/>
              <a:gd name="connsiteX75" fmla="*/ 3029 w 10000"/>
              <a:gd name="connsiteY75" fmla="*/ 3993 h 10091"/>
              <a:gd name="connsiteX76" fmla="*/ 2601 w 10000"/>
              <a:gd name="connsiteY76" fmla="*/ 3798 h 10091"/>
              <a:gd name="connsiteX77" fmla="*/ 1742 w 10000"/>
              <a:gd name="connsiteY77" fmla="*/ 3414 h 10091"/>
              <a:gd name="connsiteX78" fmla="*/ 1742 w 10000"/>
              <a:gd name="connsiteY78" fmla="*/ 3414 h 10091"/>
              <a:gd name="connsiteX79" fmla="*/ 1598 w 10000"/>
              <a:gd name="connsiteY79" fmla="*/ 3349 h 10091"/>
              <a:gd name="connsiteX80" fmla="*/ 1454 w 10000"/>
              <a:gd name="connsiteY80" fmla="*/ 3279 h 10091"/>
              <a:gd name="connsiteX81" fmla="*/ 1314 w 10000"/>
              <a:gd name="connsiteY81" fmla="*/ 3205 h 10091"/>
              <a:gd name="connsiteX82" fmla="*/ 1179 w 10000"/>
              <a:gd name="connsiteY82" fmla="*/ 3126 h 10091"/>
              <a:gd name="connsiteX83" fmla="*/ 1049 w 10000"/>
              <a:gd name="connsiteY83" fmla="*/ 3038 h 10091"/>
              <a:gd name="connsiteX84" fmla="*/ 923 w 10000"/>
              <a:gd name="connsiteY84" fmla="*/ 2946 h 10091"/>
              <a:gd name="connsiteX85" fmla="*/ 797 w 10000"/>
              <a:gd name="connsiteY85" fmla="*/ 2849 h 10091"/>
              <a:gd name="connsiteX86" fmla="*/ 680 w 10000"/>
              <a:gd name="connsiteY86" fmla="*/ 2742 h 10091"/>
              <a:gd name="connsiteX87" fmla="*/ 680 w 10000"/>
              <a:gd name="connsiteY87" fmla="*/ 2742 h 10091"/>
              <a:gd name="connsiteX88" fmla="*/ 590 w 10000"/>
              <a:gd name="connsiteY88" fmla="*/ 2649 h 10091"/>
              <a:gd name="connsiteX89" fmla="*/ 504 w 10000"/>
              <a:gd name="connsiteY89" fmla="*/ 2557 h 10091"/>
              <a:gd name="connsiteX90" fmla="*/ 423 w 10000"/>
              <a:gd name="connsiteY90" fmla="*/ 2459 h 10091"/>
              <a:gd name="connsiteX91" fmla="*/ 356 w 10000"/>
              <a:gd name="connsiteY91" fmla="*/ 2362 h 10091"/>
              <a:gd name="connsiteX92" fmla="*/ 288 w 10000"/>
              <a:gd name="connsiteY92" fmla="*/ 2260 h 10091"/>
              <a:gd name="connsiteX93" fmla="*/ 230 w 10000"/>
              <a:gd name="connsiteY93" fmla="*/ 2154 h 10091"/>
              <a:gd name="connsiteX94" fmla="*/ 180 w 10000"/>
              <a:gd name="connsiteY94" fmla="*/ 2047 h 10091"/>
              <a:gd name="connsiteX95" fmla="*/ 131 w 10000"/>
              <a:gd name="connsiteY95" fmla="*/ 1941 h 10091"/>
              <a:gd name="connsiteX96" fmla="*/ 95 w 10000"/>
              <a:gd name="connsiteY96" fmla="*/ 1830 h 10091"/>
              <a:gd name="connsiteX97" fmla="*/ 63 w 10000"/>
              <a:gd name="connsiteY97" fmla="*/ 1714 h 10091"/>
              <a:gd name="connsiteX98" fmla="*/ 36 w 10000"/>
              <a:gd name="connsiteY98" fmla="*/ 1593 h 10091"/>
              <a:gd name="connsiteX99" fmla="*/ 18 w 10000"/>
              <a:gd name="connsiteY99" fmla="*/ 1473 h 10091"/>
              <a:gd name="connsiteX100" fmla="*/ 5 w 10000"/>
              <a:gd name="connsiteY100" fmla="*/ 1352 h 10091"/>
              <a:gd name="connsiteX101" fmla="*/ 0 w 10000"/>
              <a:gd name="connsiteY101" fmla="*/ 1227 h 10091"/>
              <a:gd name="connsiteX102" fmla="*/ 0 w 10000"/>
              <a:gd name="connsiteY102" fmla="*/ 1098 h 10091"/>
              <a:gd name="connsiteX103" fmla="*/ 9 w 10000"/>
              <a:gd name="connsiteY103" fmla="*/ 968 h 10091"/>
              <a:gd name="connsiteX104" fmla="*/ 9 w 10000"/>
              <a:gd name="connsiteY104" fmla="*/ 968 h 10091"/>
              <a:gd name="connsiteX105" fmla="*/ 23 w 10000"/>
              <a:gd name="connsiteY105" fmla="*/ 848 h 10091"/>
              <a:gd name="connsiteX106" fmla="*/ 41 w 10000"/>
              <a:gd name="connsiteY106" fmla="*/ 727 h 10091"/>
              <a:gd name="connsiteX107" fmla="*/ 68 w 10000"/>
              <a:gd name="connsiteY107" fmla="*/ 607 h 10091"/>
              <a:gd name="connsiteX108" fmla="*/ 95 w 10000"/>
              <a:gd name="connsiteY108" fmla="*/ 491 h 10091"/>
              <a:gd name="connsiteX109" fmla="*/ 131 w 10000"/>
              <a:gd name="connsiteY109" fmla="*/ 375 h 10091"/>
              <a:gd name="connsiteX110" fmla="*/ 171 w 10000"/>
              <a:gd name="connsiteY110" fmla="*/ 259 h 10091"/>
              <a:gd name="connsiteX111" fmla="*/ 212 w 10000"/>
              <a:gd name="connsiteY111" fmla="*/ 148 h 10091"/>
              <a:gd name="connsiteX112" fmla="*/ 266 w 10000"/>
              <a:gd name="connsiteY112" fmla="*/ 37 h 10091"/>
              <a:gd name="connsiteX113" fmla="*/ 266 w 10000"/>
              <a:gd name="connsiteY113" fmla="*/ 37 h 10091"/>
              <a:gd name="connsiteX114" fmla="*/ 275 w 10000"/>
              <a:gd name="connsiteY114" fmla="*/ 0 h 10091"/>
              <a:gd name="connsiteX115" fmla="*/ 275 w 10000"/>
              <a:gd name="connsiteY115" fmla="*/ 0 h 10091"/>
              <a:gd name="connsiteX0" fmla="*/ 275 w 10000"/>
              <a:gd name="connsiteY0" fmla="*/ 0 h 10000"/>
              <a:gd name="connsiteX1" fmla="*/ 275 w 10000"/>
              <a:gd name="connsiteY1" fmla="*/ 0 h 10000"/>
              <a:gd name="connsiteX2" fmla="*/ 10000 w 10000"/>
              <a:gd name="connsiteY2" fmla="*/ 0 h 10000"/>
              <a:gd name="connsiteX3" fmla="*/ 10000 w 10000"/>
              <a:gd name="connsiteY3" fmla="*/ 0 h 10000"/>
              <a:gd name="connsiteX4" fmla="*/ 10000 w 10000"/>
              <a:gd name="connsiteY4" fmla="*/ 74 h 10000"/>
              <a:gd name="connsiteX5" fmla="*/ 10000 w 10000"/>
              <a:gd name="connsiteY5" fmla="*/ 74 h 10000"/>
              <a:gd name="connsiteX6" fmla="*/ 10000 w 10000"/>
              <a:gd name="connsiteY6" fmla="*/ 9893 h 10000"/>
              <a:gd name="connsiteX7" fmla="*/ 10000 w 10000"/>
              <a:gd name="connsiteY7" fmla="*/ 9893 h 10000"/>
              <a:gd name="connsiteX8" fmla="*/ 10000 w 10000"/>
              <a:gd name="connsiteY8" fmla="*/ 9940 h 10000"/>
              <a:gd name="connsiteX9" fmla="*/ 10000 w 10000"/>
              <a:gd name="connsiteY9" fmla="*/ 9940 h 10000"/>
              <a:gd name="connsiteX10" fmla="*/ 10000 w 10000"/>
              <a:gd name="connsiteY10" fmla="*/ 9958 h 10000"/>
              <a:gd name="connsiteX11" fmla="*/ 9991 w 10000"/>
              <a:gd name="connsiteY11" fmla="*/ 9972 h 10000"/>
              <a:gd name="connsiteX12" fmla="*/ 9982 w 10000"/>
              <a:gd name="connsiteY12" fmla="*/ 9981 h 10000"/>
              <a:gd name="connsiteX13" fmla="*/ 9959 w 10000"/>
              <a:gd name="connsiteY13" fmla="*/ 9991 h 10000"/>
              <a:gd name="connsiteX14" fmla="*/ 9959 w 10000"/>
              <a:gd name="connsiteY14" fmla="*/ 9991 h 10000"/>
              <a:gd name="connsiteX15" fmla="*/ 9905 w 10000"/>
              <a:gd name="connsiteY15" fmla="*/ 9995 h 10000"/>
              <a:gd name="connsiteX16" fmla="*/ 9847 w 10000"/>
              <a:gd name="connsiteY16" fmla="*/ 10000 h 10000"/>
              <a:gd name="connsiteX17" fmla="*/ 9734 w 10000"/>
              <a:gd name="connsiteY17" fmla="*/ 10000 h 10000"/>
              <a:gd name="connsiteX18" fmla="*/ 9626 w 10000"/>
              <a:gd name="connsiteY18" fmla="*/ 9995 h 10000"/>
              <a:gd name="connsiteX19" fmla="*/ 9514 w 10000"/>
              <a:gd name="connsiteY19" fmla="*/ 9981 h 10000"/>
              <a:gd name="connsiteX20" fmla="*/ 9514 w 10000"/>
              <a:gd name="connsiteY20" fmla="*/ 9981 h 10000"/>
              <a:gd name="connsiteX21" fmla="*/ 9397 w 10000"/>
              <a:gd name="connsiteY21" fmla="*/ 9963 h 10000"/>
              <a:gd name="connsiteX22" fmla="*/ 9284 w 10000"/>
              <a:gd name="connsiteY22" fmla="*/ 9944 h 10000"/>
              <a:gd name="connsiteX23" fmla="*/ 7052 w 10000"/>
              <a:gd name="connsiteY23" fmla="*/ 8902 h 10000"/>
              <a:gd name="connsiteX24" fmla="*/ 6805 w 10000"/>
              <a:gd name="connsiteY24" fmla="*/ 8736 h 10000"/>
              <a:gd name="connsiteX25" fmla="*/ 6562 w 10000"/>
              <a:gd name="connsiteY25" fmla="*/ 8564 h 10000"/>
              <a:gd name="connsiteX26" fmla="*/ 6319 w 10000"/>
              <a:gd name="connsiteY26" fmla="*/ 8388 h 10000"/>
              <a:gd name="connsiteX27" fmla="*/ 6085 w 10000"/>
              <a:gd name="connsiteY27" fmla="*/ 8208 h 10000"/>
              <a:gd name="connsiteX28" fmla="*/ 5851 w 10000"/>
              <a:gd name="connsiteY28" fmla="*/ 8022 h 10000"/>
              <a:gd name="connsiteX29" fmla="*/ 5621 w 10000"/>
              <a:gd name="connsiteY29" fmla="*/ 7832 h 10000"/>
              <a:gd name="connsiteX30" fmla="*/ 5392 w 10000"/>
              <a:gd name="connsiteY30" fmla="*/ 7642 h 10000"/>
              <a:gd name="connsiteX31" fmla="*/ 5167 w 10000"/>
              <a:gd name="connsiteY31" fmla="*/ 7443 h 10000"/>
              <a:gd name="connsiteX32" fmla="*/ 5167 w 10000"/>
              <a:gd name="connsiteY32" fmla="*/ 7443 h 10000"/>
              <a:gd name="connsiteX33" fmla="*/ 4905 w 10000"/>
              <a:gd name="connsiteY33" fmla="*/ 7216 h 10000"/>
              <a:gd name="connsiteX34" fmla="*/ 4905 w 10000"/>
              <a:gd name="connsiteY34" fmla="*/ 7216 h 10000"/>
              <a:gd name="connsiteX35" fmla="*/ 4995 w 10000"/>
              <a:gd name="connsiteY35" fmla="*/ 7040 h 10000"/>
              <a:gd name="connsiteX36" fmla="*/ 5077 w 10000"/>
              <a:gd name="connsiteY36" fmla="*/ 6864 h 10000"/>
              <a:gd name="connsiteX37" fmla="*/ 5077 w 10000"/>
              <a:gd name="connsiteY37" fmla="*/ 6864 h 10000"/>
              <a:gd name="connsiteX38" fmla="*/ 5113 w 10000"/>
              <a:gd name="connsiteY38" fmla="*/ 6781 h 10000"/>
              <a:gd name="connsiteX39" fmla="*/ 5144 w 10000"/>
              <a:gd name="connsiteY39" fmla="*/ 6693 h 10000"/>
              <a:gd name="connsiteX40" fmla="*/ 5176 w 10000"/>
              <a:gd name="connsiteY40" fmla="*/ 6605 h 10000"/>
              <a:gd name="connsiteX41" fmla="*/ 5203 w 10000"/>
              <a:gd name="connsiteY41" fmla="*/ 6517 h 10000"/>
              <a:gd name="connsiteX42" fmla="*/ 5225 w 10000"/>
              <a:gd name="connsiteY42" fmla="*/ 6424 h 10000"/>
              <a:gd name="connsiteX43" fmla="*/ 5243 w 10000"/>
              <a:gd name="connsiteY43" fmla="*/ 6336 h 10000"/>
              <a:gd name="connsiteX44" fmla="*/ 5252 w 10000"/>
              <a:gd name="connsiteY44" fmla="*/ 6244 h 10000"/>
              <a:gd name="connsiteX45" fmla="*/ 5261 w 10000"/>
              <a:gd name="connsiteY45" fmla="*/ 6146 h 10000"/>
              <a:gd name="connsiteX46" fmla="*/ 5261 w 10000"/>
              <a:gd name="connsiteY46" fmla="*/ 6146 h 10000"/>
              <a:gd name="connsiteX47" fmla="*/ 5266 w 10000"/>
              <a:gd name="connsiteY47" fmla="*/ 6040 h 10000"/>
              <a:gd name="connsiteX48" fmla="*/ 5257 w 10000"/>
              <a:gd name="connsiteY48" fmla="*/ 5933 h 10000"/>
              <a:gd name="connsiteX49" fmla="*/ 5243 w 10000"/>
              <a:gd name="connsiteY49" fmla="*/ 5831 h 10000"/>
              <a:gd name="connsiteX50" fmla="*/ 5221 w 10000"/>
              <a:gd name="connsiteY50" fmla="*/ 5730 h 10000"/>
              <a:gd name="connsiteX51" fmla="*/ 5189 w 10000"/>
              <a:gd name="connsiteY51" fmla="*/ 5632 h 10000"/>
              <a:gd name="connsiteX52" fmla="*/ 5149 w 10000"/>
              <a:gd name="connsiteY52" fmla="*/ 5535 h 10000"/>
              <a:gd name="connsiteX53" fmla="*/ 5099 w 10000"/>
              <a:gd name="connsiteY53" fmla="*/ 5442 h 10000"/>
              <a:gd name="connsiteX54" fmla="*/ 5045 w 10000"/>
              <a:gd name="connsiteY54" fmla="*/ 5350 h 10000"/>
              <a:gd name="connsiteX55" fmla="*/ 5045 w 10000"/>
              <a:gd name="connsiteY55" fmla="*/ 5350 h 10000"/>
              <a:gd name="connsiteX56" fmla="*/ 4986 w 10000"/>
              <a:gd name="connsiteY56" fmla="*/ 5266 h 10000"/>
              <a:gd name="connsiteX57" fmla="*/ 4923 w 10000"/>
              <a:gd name="connsiteY57" fmla="*/ 5183 h 10000"/>
              <a:gd name="connsiteX58" fmla="*/ 4856 w 10000"/>
              <a:gd name="connsiteY58" fmla="*/ 5109 h 10000"/>
              <a:gd name="connsiteX59" fmla="*/ 4784 w 10000"/>
              <a:gd name="connsiteY59" fmla="*/ 5035 h 10000"/>
              <a:gd name="connsiteX60" fmla="*/ 4707 w 10000"/>
              <a:gd name="connsiteY60" fmla="*/ 4965 h 10000"/>
              <a:gd name="connsiteX61" fmla="*/ 4631 w 10000"/>
              <a:gd name="connsiteY61" fmla="*/ 4900 h 10000"/>
              <a:gd name="connsiteX62" fmla="*/ 4550 w 10000"/>
              <a:gd name="connsiteY62" fmla="*/ 4836 h 10000"/>
              <a:gd name="connsiteX63" fmla="*/ 4469 w 10000"/>
              <a:gd name="connsiteY63" fmla="*/ 4775 h 10000"/>
              <a:gd name="connsiteX64" fmla="*/ 4469 w 10000"/>
              <a:gd name="connsiteY64" fmla="*/ 4775 h 10000"/>
              <a:gd name="connsiteX65" fmla="*/ 4347 w 10000"/>
              <a:gd name="connsiteY65" fmla="*/ 4687 h 10000"/>
              <a:gd name="connsiteX66" fmla="*/ 4226 w 10000"/>
              <a:gd name="connsiteY66" fmla="*/ 4609 h 10000"/>
              <a:gd name="connsiteX67" fmla="*/ 4104 w 10000"/>
              <a:gd name="connsiteY67" fmla="*/ 4530 h 10000"/>
              <a:gd name="connsiteX68" fmla="*/ 3978 w 10000"/>
              <a:gd name="connsiteY68" fmla="*/ 4456 h 10000"/>
              <a:gd name="connsiteX69" fmla="*/ 3852 w 10000"/>
              <a:gd name="connsiteY69" fmla="*/ 4386 h 10000"/>
              <a:gd name="connsiteX70" fmla="*/ 3722 w 10000"/>
              <a:gd name="connsiteY70" fmla="*/ 4317 h 10000"/>
              <a:gd name="connsiteX71" fmla="*/ 3591 w 10000"/>
              <a:gd name="connsiteY71" fmla="*/ 4252 h 10000"/>
              <a:gd name="connsiteX72" fmla="*/ 3461 w 10000"/>
              <a:gd name="connsiteY72" fmla="*/ 4187 h 10000"/>
              <a:gd name="connsiteX73" fmla="*/ 3461 w 10000"/>
              <a:gd name="connsiteY73" fmla="*/ 4187 h 10000"/>
              <a:gd name="connsiteX74" fmla="*/ 3029 w 10000"/>
              <a:gd name="connsiteY74" fmla="*/ 3993 h 10000"/>
              <a:gd name="connsiteX75" fmla="*/ 2601 w 10000"/>
              <a:gd name="connsiteY75" fmla="*/ 3798 h 10000"/>
              <a:gd name="connsiteX76" fmla="*/ 1742 w 10000"/>
              <a:gd name="connsiteY76" fmla="*/ 3414 h 10000"/>
              <a:gd name="connsiteX77" fmla="*/ 1742 w 10000"/>
              <a:gd name="connsiteY77" fmla="*/ 3414 h 10000"/>
              <a:gd name="connsiteX78" fmla="*/ 1598 w 10000"/>
              <a:gd name="connsiteY78" fmla="*/ 3349 h 10000"/>
              <a:gd name="connsiteX79" fmla="*/ 1454 w 10000"/>
              <a:gd name="connsiteY79" fmla="*/ 3279 h 10000"/>
              <a:gd name="connsiteX80" fmla="*/ 1314 w 10000"/>
              <a:gd name="connsiteY80" fmla="*/ 3205 h 10000"/>
              <a:gd name="connsiteX81" fmla="*/ 1179 w 10000"/>
              <a:gd name="connsiteY81" fmla="*/ 3126 h 10000"/>
              <a:gd name="connsiteX82" fmla="*/ 1049 w 10000"/>
              <a:gd name="connsiteY82" fmla="*/ 3038 h 10000"/>
              <a:gd name="connsiteX83" fmla="*/ 923 w 10000"/>
              <a:gd name="connsiteY83" fmla="*/ 2946 h 10000"/>
              <a:gd name="connsiteX84" fmla="*/ 797 w 10000"/>
              <a:gd name="connsiteY84" fmla="*/ 2849 h 10000"/>
              <a:gd name="connsiteX85" fmla="*/ 680 w 10000"/>
              <a:gd name="connsiteY85" fmla="*/ 2742 h 10000"/>
              <a:gd name="connsiteX86" fmla="*/ 680 w 10000"/>
              <a:gd name="connsiteY86" fmla="*/ 2742 h 10000"/>
              <a:gd name="connsiteX87" fmla="*/ 590 w 10000"/>
              <a:gd name="connsiteY87" fmla="*/ 2649 h 10000"/>
              <a:gd name="connsiteX88" fmla="*/ 504 w 10000"/>
              <a:gd name="connsiteY88" fmla="*/ 2557 h 10000"/>
              <a:gd name="connsiteX89" fmla="*/ 423 w 10000"/>
              <a:gd name="connsiteY89" fmla="*/ 2459 h 10000"/>
              <a:gd name="connsiteX90" fmla="*/ 356 w 10000"/>
              <a:gd name="connsiteY90" fmla="*/ 2362 h 10000"/>
              <a:gd name="connsiteX91" fmla="*/ 288 w 10000"/>
              <a:gd name="connsiteY91" fmla="*/ 2260 h 10000"/>
              <a:gd name="connsiteX92" fmla="*/ 230 w 10000"/>
              <a:gd name="connsiteY92" fmla="*/ 2154 h 10000"/>
              <a:gd name="connsiteX93" fmla="*/ 180 w 10000"/>
              <a:gd name="connsiteY93" fmla="*/ 2047 h 10000"/>
              <a:gd name="connsiteX94" fmla="*/ 131 w 10000"/>
              <a:gd name="connsiteY94" fmla="*/ 1941 h 10000"/>
              <a:gd name="connsiteX95" fmla="*/ 95 w 10000"/>
              <a:gd name="connsiteY95" fmla="*/ 1830 h 10000"/>
              <a:gd name="connsiteX96" fmla="*/ 63 w 10000"/>
              <a:gd name="connsiteY96" fmla="*/ 1714 h 10000"/>
              <a:gd name="connsiteX97" fmla="*/ 36 w 10000"/>
              <a:gd name="connsiteY97" fmla="*/ 1593 h 10000"/>
              <a:gd name="connsiteX98" fmla="*/ 18 w 10000"/>
              <a:gd name="connsiteY98" fmla="*/ 1473 h 10000"/>
              <a:gd name="connsiteX99" fmla="*/ 5 w 10000"/>
              <a:gd name="connsiteY99" fmla="*/ 1352 h 10000"/>
              <a:gd name="connsiteX100" fmla="*/ 0 w 10000"/>
              <a:gd name="connsiteY100" fmla="*/ 1227 h 10000"/>
              <a:gd name="connsiteX101" fmla="*/ 0 w 10000"/>
              <a:gd name="connsiteY101" fmla="*/ 1098 h 10000"/>
              <a:gd name="connsiteX102" fmla="*/ 9 w 10000"/>
              <a:gd name="connsiteY102" fmla="*/ 968 h 10000"/>
              <a:gd name="connsiteX103" fmla="*/ 9 w 10000"/>
              <a:gd name="connsiteY103" fmla="*/ 968 h 10000"/>
              <a:gd name="connsiteX104" fmla="*/ 23 w 10000"/>
              <a:gd name="connsiteY104" fmla="*/ 848 h 10000"/>
              <a:gd name="connsiteX105" fmla="*/ 41 w 10000"/>
              <a:gd name="connsiteY105" fmla="*/ 727 h 10000"/>
              <a:gd name="connsiteX106" fmla="*/ 68 w 10000"/>
              <a:gd name="connsiteY106" fmla="*/ 607 h 10000"/>
              <a:gd name="connsiteX107" fmla="*/ 95 w 10000"/>
              <a:gd name="connsiteY107" fmla="*/ 491 h 10000"/>
              <a:gd name="connsiteX108" fmla="*/ 131 w 10000"/>
              <a:gd name="connsiteY108" fmla="*/ 375 h 10000"/>
              <a:gd name="connsiteX109" fmla="*/ 171 w 10000"/>
              <a:gd name="connsiteY109" fmla="*/ 259 h 10000"/>
              <a:gd name="connsiteX110" fmla="*/ 212 w 10000"/>
              <a:gd name="connsiteY110" fmla="*/ 148 h 10000"/>
              <a:gd name="connsiteX111" fmla="*/ 266 w 10000"/>
              <a:gd name="connsiteY111" fmla="*/ 37 h 10000"/>
              <a:gd name="connsiteX112" fmla="*/ 266 w 10000"/>
              <a:gd name="connsiteY112" fmla="*/ 37 h 10000"/>
              <a:gd name="connsiteX113" fmla="*/ 275 w 10000"/>
              <a:gd name="connsiteY113" fmla="*/ 0 h 10000"/>
              <a:gd name="connsiteX114" fmla="*/ 275 w 10000"/>
              <a:gd name="connsiteY114" fmla="*/ 0 h 10000"/>
              <a:gd name="connsiteX0" fmla="*/ 275 w 10000"/>
              <a:gd name="connsiteY0" fmla="*/ 0 h 10109"/>
              <a:gd name="connsiteX1" fmla="*/ 275 w 10000"/>
              <a:gd name="connsiteY1" fmla="*/ 0 h 10109"/>
              <a:gd name="connsiteX2" fmla="*/ 10000 w 10000"/>
              <a:gd name="connsiteY2" fmla="*/ 0 h 10109"/>
              <a:gd name="connsiteX3" fmla="*/ 10000 w 10000"/>
              <a:gd name="connsiteY3" fmla="*/ 0 h 10109"/>
              <a:gd name="connsiteX4" fmla="*/ 10000 w 10000"/>
              <a:gd name="connsiteY4" fmla="*/ 74 h 10109"/>
              <a:gd name="connsiteX5" fmla="*/ 10000 w 10000"/>
              <a:gd name="connsiteY5" fmla="*/ 74 h 10109"/>
              <a:gd name="connsiteX6" fmla="*/ 10000 w 10000"/>
              <a:gd name="connsiteY6" fmla="*/ 9893 h 10109"/>
              <a:gd name="connsiteX7" fmla="*/ 10000 w 10000"/>
              <a:gd name="connsiteY7" fmla="*/ 9893 h 10109"/>
              <a:gd name="connsiteX8" fmla="*/ 10000 w 10000"/>
              <a:gd name="connsiteY8" fmla="*/ 9940 h 10109"/>
              <a:gd name="connsiteX9" fmla="*/ 10000 w 10000"/>
              <a:gd name="connsiteY9" fmla="*/ 9940 h 10109"/>
              <a:gd name="connsiteX10" fmla="*/ 10000 w 10000"/>
              <a:gd name="connsiteY10" fmla="*/ 9958 h 10109"/>
              <a:gd name="connsiteX11" fmla="*/ 9991 w 10000"/>
              <a:gd name="connsiteY11" fmla="*/ 9972 h 10109"/>
              <a:gd name="connsiteX12" fmla="*/ 9982 w 10000"/>
              <a:gd name="connsiteY12" fmla="*/ 9981 h 10109"/>
              <a:gd name="connsiteX13" fmla="*/ 9959 w 10000"/>
              <a:gd name="connsiteY13" fmla="*/ 9991 h 10109"/>
              <a:gd name="connsiteX14" fmla="*/ 9959 w 10000"/>
              <a:gd name="connsiteY14" fmla="*/ 9991 h 10109"/>
              <a:gd name="connsiteX15" fmla="*/ 9905 w 10000"/>
              <a:gd name="connsiteY15" fmla="*/ 9995 h 10109"/>
              <a:gd name="connsiteX16" fmla="*/ 9847 w 10000"/>
              <a:gd name="connsiteY16" fmla="*/ 10000 h 10109"/>
              <a:gd name="connsiteX17" fmla="*/ 9734 w 10000"/>
              <a:gd name="connsiteY17" fmla="*/ 10000 h 10109"/>
              <a:gd name="connsiteX18" fmla="*/ 9626 w 10000"/>
              <a:gd name="connsiteY18" fmla="*/ 9995 h 10109"/>
              <a:gd name="connsiteX19" fmla="*/ 9514 w 10000"/>
              <a:gd name="connsiteY19" fmla="*/ 9981 h 10109"/>
              <a:gd name="connsiteX20" fmla="*/ 9514 w 10000"/>
              <a:gd name="connsiteY20" fmla="*/ 9981 h 10109"/>
              <a:gd name="connsiteX21" fmla="*/ 9397 w 10000"/>
              <a:gd name="connsiteY21" fmla="*/ 9963 h 10109"/>
              <a:gd name="connsiteX22" fmla="*/ 9284 w 10000"/>
              <a:gd name="connsiteY22" fmla="*/ 9944 h 10109"/>
              <a:gd name="connsiteX23" fmla="*/ 9267 w 10000"/>
              <a:gd name="connsiteY23" fmla="*/ 9935 h 10109"/>
              <a:gd name="connsiteX24" fmla="*/ 7052 w 10000"/>
              <a:gd name="connsiteY24" fmla="*/ 8902 h 10109"/>
              <a:gd name="connsiteX25" fmla="*/ 6805 w 10000"/>
              <a:gd name="connsiteY25" fmla="*/ 8736 h 10109"/>
              <a:gd name="connsiteX26" fmla="*/ 6562 w 10000"/>
              <a:gd name="connsiteY26" fmla="*/ 8564 h 10109"/>
              <a:gd name="connsiteX27" fmla="*/ 6319 w 10000"/>
              <a:gd name="connsiteY27" fmla="*/ 8388 h 10109"/>
              <a:gd name="connsiteX28" fmla="*/ 6085 w 10000"/>
              <a:gd name="connsiteY28" fmla="*/ 8208 h 10109"/>
              <a:gd name="connsiteX29" fmla="*/ 5851 w 10000"/>
              <a:gd name="connsiteY29" fmla="*/ 8022 h 10109"/>
              <a:gd name="connsiteX30" fmla="*/ 5621 w 10000"/>
              <a:gd name="connsiteY30" fmla="*/ 7832 h 10109"/>
              <a:gd name="connsiteX31" fmla="*/ 5392 w 10000"/>
              <a:gd name="connsiteY31" fmla="*/ 7642 h 10109"/>
              <a:gd name="connsiteX32" fmla="*/ 5167 w 10000"/>
              <a:gd name="connsiteY32" fmla="*/ 7443 h 10109"/>
              <a:gd name="connsiteX33" fmla="*/ 5167 w 10000"/>
              <a:gd name="connsiteY33" fmla="*/ 7443 h 10109"/>
              <a:gd name="connsiteX34" fmla="*/ 4905 w 10000"/>
              <a:gd name="connsiteY34" fmla="*/ 7216 h 10109"/>
              <a:gd name="connsiteX35" fmla="*/ 4905 w 10000"/>
              <a:gd name="connsiteY35" fmla="*/ 7216 h 10109"/>
              <a:gd name="connsiteX36" fmla="*/ 4995 w 10000"/>
              <a:gd name="connsiteY36" fmla="*/ 7040 h 10109"/>
              <a:gd name="connsiteX37" fmla="*/ 5077 w 10000"/>
              <a:gd name="connsiteY37" fmla="*/ 6864 h 10109"/>
              <a:gd name="connsiteX38" fmla="*/ 5077 w 10000"/>
              <a:gd name="connsiteY38" fmla="*/ 6864 h 10109"/>
              <a:gd name="connsiteX39" fmla="*/ 5113 w 10000"/>
              <a:gd name="connsiteY39" fmla="*/ 6781 h 10109"/>
              <a:gd name="connsiteX40" fmla="*/ 5144 w 10000"/>
              <a:gd name="connsiteY40" fmla="*/ 6693 h 10109"/>
              <a:gd name="connsiteX41" fmla="*/ 5176 w 10000"/>
              <a:gd name="connsiteY41" fmla="*/ 6605 h 10109"/>
              <a:gd name="connsiteX42" fmla="*/ 5203 w 10000"/>
              <a:gd name="connsiteY42" fmla="*/ 6517 h 10109"/>
              <a:gd name="connsiteX43" fmla="*/ 5225 w 10000"/>
              <a:gd name="connsiteY43" fmla="*/ 6424 h 10109"/>
              <a:gd name="connsiteX44" fmla="*/ 5243 w 10000"/>
              <a:gd name="connsiteY44" fmla="*/ 6336 h 10109"/>
              <a:gd name="connsiteX45" fmla="*/ 5252 w 10000"/>
              <a:gd name="connsiteY45" fmla="*/ 6244 h 10109"/>
              <a:gd name="connsiteX46" fmla="*/ 5261 w 10000"/>
              <a:gd name="connsiteY46" fmla="*/ 6146 h 10109"/>
              <a:gd name="connsiteX47" fmla="*/ 5261 w 10000"/>
              <a:gd name="connsiteY47" fmla="*/ 6146 h 10109"/>
              <a:gd name="connsiteX48" fmla="*/ 5266 w 10000"/>
              <a:gd name="connsiteY48" fmla="*/ 6040 h 10109"/>
              <a:gd name="connsiteX49" fmla="*/ 5257 w 10000"/>
              <a:gd name="connsiteY49" fmla="*/ 5933 h 10109"/>
              <a:gd name="connsiteX50" fmla="*/ 5243 w 10000"/>
              <a:gd name="connsiteY50" fmla="*/ 5831 h 10109"/>
              <a:gd name="connsiteX51" fmla="*/ 5221 w 10000"/>
              <a:gd name="connsiteY51" fmla="*/ 5730 h 10109"/>
              <a:gd name="connsiteX52" fmla="*/ 5189 w 10000"/>
              <a:gd name="connsiteY52" fmla="*/ 5632 h 10109"/>
              <a:gd name="connsiteX53" fmla="*/ 5149 w 10000"/>
              <a:gd name="connsiteY53" fmla="*/ 5535 h 10109"/>
              <a:gd name="connsiteX54" fmla="*/ 5099 w 10000"/>
              <a:gd name="connsiteY54" fmla="*/ 5442 h 10109"/>
              <a:gd name="connsiteX55" fmla="*/ 5045 w 10000"/>
              <a:gd name="connsiteY55" fmla="*/ 5350 h 10109"/>
              <a:gd name="connsiteX56" fmla="*/ 5045 w 10000"/>
              <a:gd name="connsiteY56" fmla="*/ 5350 h 10109"/>
              <a:gd name="connsiteX57" fmla="*/ 4986 w 10000"/>
              <a:gd name="connsiteY57" fmla="*/ 5266 h 10109"/>
              <a:gd name="connsiteX58" fmla="*/ 4923 w 10000"/>
              <a:gd name="connsiteY58" fmla="*/ 5183 h 10109"/>
              <a:gd name="connsiteX59" fmla="*/ 4856 w 10000"/>
              <a:gd name="connsiteY59" fmla="*/ 5109 h 10109"/>
              <a:gd name="connsiteX60" fmla="*/ 4784 w 10000"/>
              <a:gd name="connsiteY60" fmla="*/ 5035 h 10109"/>
              <a:gd name="connsiteX61" fmla="*/ 4707 w 10000"/>
              <a:gd name="connsiteY61" fmla="*/ 4965 h 10109"/>
              <a:gd name="connsiteX62" fmla="*/ 4631 w 10000"/>
              <a:gd name="connsiteY62" fmla="*/ 4900 h 10109"/>
              <a:gd name="connsiteX63" fmla="*/ 4550 w 10000"/>
              <a:gd name="connsiteY63" fmla="*/ 4836 h 10109"/>
              <a:gd name="connsiteX64" fmla="*/ 4469 w 10000"/>
              <a:gd name="connsiteY64" fmla="*/ 4775 h 10109"/>
              <a:gd name="connsiteX65" fmla="*/ 4469 w 10000"/>
              <a:gd name="connsiteY65" fmla="*/ 4775 h 10109"/>
              <a:gd name="connsiteX66" fmla="*/ 4347 w 10000"/>
              <a:gd name="connsiteY66" fmla="*/ 4687 h 10109"/>
              <a:gd name="connsiteX67" fmla="*/ 4226 w 10000"/>
              <a:gd name="connsiteY67" fmla="*/ 4609 h 10109"/>
              <a:gd name="connsiteX68" fmla="*/ 4104 w 10000"/>
              <a:gd name="connsiteY68" fmla="*/ 4530 h 10109"/>
              <a:gd name="connsiteX69" fmla="*/ 3978 w 10000"/>
              <a:gd name="connsiteY69" fmla="*/ 4456 h 10109"/>
              <a:gd name="connsiteX70" fmla="*/ 3852 w 10000"/>
              <a:gd name="connsiteY70" fmla="*/ 4386 h 10109"/>
              <a:gd name="connsiteX71" fmla="*/ 3722 w 10000"/>
              <a:gd name="connsiteY71" fmla="*/ 4317 h 10109"/>
              <a:gd name="connsiteX72" fmla="*/ 3591 w 10000"/>
              <a:gd name="connsiteY72" fmla="*/ 4252 h 10109"/>
              <a:gd name="connsiteX73" fmla="*/ 3461 w 10000"/>
              <a:gd name="connsiteY73" fmla="*/ 4187 h 10109"/>
              <a:gd name="connsiteX74" fmla="*/ 3461 w 10000"/>
              <a:gd name="connsiteY74" fmla="*/ 4187 h 10109"/>
              <a:gd name="connsiteX75" fmla="*/ 3029 w 10000"/>
              <a:gd name="connsiteY75" fmla="*/ 3993 h 10109"/>
              <a:gd name="connsiteX76" fmla="*/ 2601 w 10000"/>
              <a:gd name="connsiteY76" fmla="*/ 3798 h 10109"/>
              <a:gd name="connsiteX77" fmla="*/ 1742 w 10000"/>
              <a:gd name="connsiteY77" fmla="*/ 3414 h 10109"/>
              <a:gd name="connsiteX78" fmla="*/ 1742 w 10000"/>
              <a:gd name="connsiteY78" fmla="*/ 3414 h 10109"/>
              <a:gd name="connsiteX79" fmla="*/ 1598 w 10000"/>
              <a:gd name="connsiteY79" fmla="*/ 3349 h 10109"/>
              <a:gd name="connsiteX80" fmla="*/ 1454 w 10000"/>
              <a:gd name="connsiteY80" fmla="*/ 3279 h 10109"/>
              <a:gd name="connsiteX81" fmla="*/ 1314 w 10000"/>
              <a:gd name="connsiteY81" fmla="*/ 3205 h 10109"/>
              <a:gd name="connsiteX82" fmla="*/ 1179 w 10000"/>
              <a:gd name="connsiteY82" fmla="*/ 3126 h 10109"/>
              <a:gd name="connsiteX83" fmla="*/ 1049 w 10000"/>
              <a:gd name="connsiteY83" fmla="*/ 3038 h 10109"/>
              <a:gd name="connsiteX84" fmla="*/ 923 w 10000"/>
              <a:gd name="connsiteY84" fmla="*/ 2946 h 10109"/>
              <a:gd name="connsiteX85" fmla="*/ 797 w 10000"/>
              <a:gd name="connsiteY85" fmla="*/ 2849 h 10109"/>
              <a:gd name="connsiteX86" fmla="*/ 680 w 10000"/>
              <a:gd name="connsiteY86" fmla="*/ 2742 h 10109"/>
              <a:gd name="connsiteX87" fmla="*/ 680 w 10000"/>
              <a:gd name="connsiteY87" fmla="*/ 2742 h 10109"/>
              <a:gd name="connsiteX88" fmla="*/ 590 w 10000"/>
              <a:gd name="connsiteY88" fmla="*/ 2649 h 10109"/>
              <a:gd name="connsiteX89" fmla="*/ 504 w 10000"/>
              <a:gd name="connsiteY89" fmla="*/ 2557 h 10109"/>
              <a:gd name="connsiteX90" fmla="*/ 423 w 10000"/>
              <a:gd name="connsiteY90" fmla="*/ 2459 h 10109"/>
              <a:gd name="connsiteX91" fmla="*/ 356 w 10000"/>
              <a:gd name="connsiteY91" fmla="*/ 2362 h 10109"/>
              <a:gd name="connsiteX92" fmla="*/ 288 w 10000"/>
              <a:gd name="connsiteY92" fmla="*/ 2260 h 10109"/>
              <a:gd name="connsiteX93" fmla="*/ 230 w 10000"/>
              <a:gd name="connsiteY93" fmla="*/ 2154 h 10109"/>
              <a:gd name="connsiteX94" fmla="*/ 180 w 10000"/>
              <a:gd name="connsiteY94" fmla="*/ 2047 h 10109"/>
              <a:gd name="connsiteX95" fmla="*/ 131 w 10000"/>
              <a:gd name="connsiteY95" fmla="*/ 1941 h 10109"/>
              <a:gd name="connsiteX96" fmla="*/ 95 w 10000"/>
              <a:gd name="connsiteY96" fmla="*/ 1830 h 10109"/>
              <a:gd name="connsiteX97" fmla="*/ 63 w 10000"/>
              <a:gd name="connsiteY97" fmla="*/ 1714 h 10109"/>
              <a:gd name="connsiteX98" fmla="*/ 36 w 10000"/>
              <a:gd name="connsiteY98" fmla="*/ 1593 h 10109"/>
              <a:gd name="connsiteX99" fmla="*/ 18 w 10000"/>
              <a:gd name="connsiteY99" fmla="*/ 1473 h 10109"/>
              <a:gd name="connsiteX100" fmla="*/ 5 w 10000"/>
              <a:gd name="connsiteY100" fmla="*/ 1352 h 10109"/>
              <a:gd name="connsiteX101" fmla="*/ 0 w 10000"/>
              <a:gd name="connsiteY101" fmla="*/ 1227 h 10109"/>
              <a:gd name="connsiteX102" fmla="*/ 0 w 10000"/>
              <a:gd name="connsiteY102" fmla="*/ 1098 h 10109"/>
              <a:gd name="connsiteX103" fmla="*/ 9 w 10000"/>
              <a:gd name="connsiteY103" fmla="*/ 968 h 10109"/>
              <a:gd name="connsiteX104" fmla="*/ 9 w 10000"/>
              <a:gd name="connsiteY104" fmla="*/ 968 h 10109"/>
              <a:gd name="connsiteX105" fmla="*/ 23 w 10000"/>
              <a:gd name="connsiteY105" fmla="*/ 848 h 10109"/>
              <a:gd name="connsiteX106" fmla="*/ 41 w 10000"/>
              <a:gd name="connsiteY106" fmla="*/ 727 h 10109"/>
              <a:gd name="connsiteX107" fmla="*/ 68 w 10000"/>
              <a:gd name="connsiteY107" fmla="*/ 607 h 10109"/>
              <a:gd name="connsiteX108" fmla="*/ 95 w 10000"/>
              <a:gd name="connsiteY108" fmla="*/ 491 h 10109"/>
              <a:gd name="connsiteX109" fmla="*/ 131 w 10000"/>
              <a:gd name="connsiteY109" fmla="*/ 375 h 10109"/>
              <a:gd name="connsiteX110" fmla="*/ 171 w 10000"/>
              <a:gd name="connsiteY110" fmla="*/ 259 h 10109"/>
              <a:gd name="connsiteX111" fmla="*/ 212 w 10000"/>
              <a:gd name="connsiteY111" fmla="*/ 148 h 10109"/>
              <a:gd name="connsiteX112" fmla="*/ 266 w 10000"/>
              <a:gd name="connsiteY112" fmla="*/ 37 h 10109"/>
              <a:gd name="connsiteX113" fmla="*/ 266 w 10000"/>
              <a:gd name="connsiteY113" fmla="*/ 37 h 10109"/>
              <a:gd name="connsiteX114" fmla="*/ 275 w 10000"/>
              <a:gd name="connsiteY114" fmla="*/ 0 h 10109"/>
              <a:gd name="connsiteX115" fmla="*/ 275 w 10000"/>
              <a:gd name="connsiteY115" fmla="*/ 0 h 10109"/>
              <a:gd name="connsiteX0" fmla="*/ 275 w 10000"/>
              <a:gd name="connsiteY0" fmla="*/ 0 h 10121"/>
              <a:gd name="connsiteX1" fmla="*/ 275 w 10000"/>
              <a:gd name="connsiteY1" fmla="*/ 0 h 10121"/>
              <a:gd name="connsiteX2" fmla="*/ 10000 w 10000"/>
              <a:gd name="connsiteY2" fmla="*/ 0 h 10121"/>
              <a:gd name="connsiteX3" fmla="*/ 10000 w 10000"/>
              <a:gd name="connsiteY3" fmla="*/ 0 h 10121"/>
              <a:gd name="connsiteX4" fmla="*/ 10000 w 10000"/>
              <a:gd name="connsiteY4" fmla="*/ 74 h 10121"/>
              <a:gd name="connsiteX5" fmla="*/ 10000 w 10000"/>
              <a:gd name="connsiteY5" fmla="*/ 74 h 10121"/>
              <a:gd name="connsiteX6" fmla="*/ 10000 w 10000"/>
              <a:gd name="connsiteY6" fmla="*/ 9893 h 10121"/>
              <a:gd name="connsiteX7" fmla="*/ 10000 w 10000"/>
              <a:gd name="connsiteY7" fmla="*/ 9893 h 10121"/>
              <a:gd name="connsiteX8" fmla="*/ 10000 w 10000"/>
              <a:gd name="connsiteY8" fmla="*/ 9940 h 10121"/>
              <a:gd name="connsiteX9" fmla="*/ 10000 w 10000"/>
              <a:gd name="connsiteY9" fmla="*/ 9940 h 10121"/>
              <a:gd name="connsiteX10" fmla="*/ 10000 w 10000"/>
              <a:gd name="connsiteY10" fmla="*/ 9958 h 10121"/>
              <a:gd name="connsiteX11" fmla="*/ 9991 w 10000"/>
              <a:gd name="connsiteY11" fmla="*/ 9972 h 10121"/>
              <a:gd name="connsiteX12" fmla="*/ 9982 w 10000"/>
              <a:gd name="connsiteY12" fmla="*/ 9981 h 10121"/>
              <a:gd name="connsiteX13" fmla="*/ 9959 w 10000"/>
              <a:gd name="connsiteY13" fmla="*/ 9991 h 10121"/>
              <a:gd name="connsiteX14" fmla="*/ 9959 w 10000"/>
              <a:gd name="connsiteY14" fmla="*/ 9991 h 10121"/>
              <a:gd name="connsiteX15" fmla="*/ 9905 w 10000"/>
              <a:gd name="connsiteY15" fmla="*/ 9995 h 10121"/>
              <a:gd name="connsiteX16" fmla="*/ 9847 w 10000"/>
              <a:gd name="connsiteY16" fmla="*/ 10000 h 10121"/>
              <a:gd name="connsiteX17" fmla="*/ 9734 w 10000"/>
              <a:gd name="connsiteY17" fmla="*/ 10000 h 10121"/>
              <a:gd name="connsiteX18" fmla="*/ 9626 w 10000"/>
              <a:gd name="connsiteY18" fmla="*/ 9995 h 10121"/>
              <a:gd name="connsiteX19" fmla="*/ 9514 w 10000"/>
              <a:gd name="connsiteY19" fmla="*/ 9981 h 10121"/>
              <a:gd name="connsiteX20" fmla="*/ 9514 w 10000"/>
              <a:gd name="connsiteY20" fmla="*/ 9981 h 10121"/>
              <a:gd name="connsiteX21" fmla="*/ 9397 w 10000"/>
              <a:gd name="connsiteY21" fmla="*/ 9963 h 10121"/>
              <a:gd name="connsiteX22" fmla="*/ 9284 w 10000"/>
              <a:gd name="connsiteY22" fmla="*/ 9944 h 10121"/>
              <a:gd name="connsiteX23" fmla="*/ 7052 w 10000"/>
              <a:gd name="connsiteY23" fmla="*/ 8902 h 10121"/>
              <a:gd name="connsiteX24" fmla="*/ 6805 w 10000"/>
              <a:gd name="connsiteY24" fmla="*/ 8736 h 10121"/>
              <a:gd name="connsiteX25" fmla="*/ 6562 w 10000"/>
              <a:gd name="connsiteY25" fmla="*/ 8564 h 10121"/>
              <a:gd name="connsiteX26" fmla="*/ 6319 w 10000"/>
              <a:gd name="connsiteY26" fmla="*/ 8388 h 10121"/>
              <a:gd name="connsiteX27" fmla="*/ 6085 w 10000"/>
              <a:gd name="connsiteY27" fmla="*/ 8208 h 10121"/>
              <a:gd name="connsiteX28" fmla="*/ 5851 w 10000"/>
              <a:gd name="connsiteY28" fmla="*/ 8022 h 10121"/>
              <a:gd name="connsiteX29" fmla="*/ 5621 w 10000"/>
              <a:gd name="connsiteY29" fmla="*/ 7832 h 10121"/>
              <a:gd name="connsiteX30" fmla="*/ 5392 w 10000"/>
              <a:gd name="connsiteY30" fmla="*/ 7642 h 10121"/>
              <a:gd name="connsiteX31" fmla="*/ 5167 w 10000"/>
              <a:gd name="connsiteY31" fmla="*/ 7443 h 10121"/>
              <a:gd name="connsiteX32" fmla="*/ 5167 w 10000"/>
              <a:gd name="connsiteY32" fmla="*/ 7443 h 10121"/>
              <a:gd name="connsiteX33" fmla="*/ 4905 w 10000"/>
              <a:gd name="connsiteY33" fmla="*/ 7216 h 10121"/>
              <a:gd name="connsiteX34" fmla="*/ 4905 w 10000"/>
              <a:gd name="connsiteY34" fmla="*/ 7216 h 10121"/>
              <a:gd name="connsiteX35" fmla="*/ 4995 w 10000"/>
              <a:gd name="connsiteY35" fmla="*/ 7040 h 10121"/>
              <a:gd name="connsiteX36" fmla="*/ 5077 w 10000"/>
              <a:gd name="connsiteY36" fmla="*/ 6864 h 10121"/>
              <a:gd name="connsiteX37" fmla="*/ 5077 w 10000"/>
              <a:gd name="connsiteY37" fmla="*/ 6864 h 10121"/>
              <a:gd name="connsiteX38" fmla="*/ 5113 w 10000"/>
              <a:gd name="connsiteY38" fmla="*/ 6781 h 10121"/>
              <a:gd name="connsiteX39" fmla="*/ 5144 w 10000"/>
              <a:gd name="connsiteY39" fmla="*/ 6693 h 10121"/>
              <a:gd name="connsiteX40" fmla="*/ 5176 w 10000"/>
              <a:gd name="connsiteY40" fmla="*/ 6605 h 10121"/>
              <a:gd name="connsiteX41" fmla="*/ 5203 w 10000"/>
              <a:gd name="connsiteY41" fmla="*/ 6517 h 10121"/>
              <a:gd name="connsiteX42" fmla="*/ 5225 w 10000"/>
              <a:gd name="connsiteY42" fmla="*/ 6424 h 10121"/>
              <a:gd name="connsiteX43" fmla="*/ 5243 w 10000"/>
              <a:gd name="connsiteY43" fmla="*/ 6336 h 10121"/>
              <a:gd name="connsiteX44" fmla="*/ 5252 w 10000"/>
              <a:gd name="connsiteY44" fmla="*/ 6244 h 10121"/>
              <a:gd name="connsiteX45" fmla="*/ 5261 w 10000"/>
              <a:gd name="connsiteY45" fmla="*/ 6146 h 10121"/>
              <a:gd name="connsiteX46" fmla="*/ 5261 w 10000"/>
              <a:gd name="connsiteY46" fmla="*/ 6146 h 10121"/>
              <a:gd name="connsiteX47" fmla="*/ 5266 w 10000"/>
              <a:gd name="connsiteY47" fmla="*/ 6040 h 10121"/>
              <a:gd name="connsiteX48" fmla="*/ 5257 w 10000"/>
              <a:gd name="connsiteY48" fmla="*/ 5933 h 10121"/>
              <a:gd name="connsiteX49" fmla="*/ 5243 w 10000"/>
              <a:gd name="connsiteY49" fmla="*/ 5831 h 10121"/>
              <a:gd name="connsiteX50" fmla="*/ 5221 w 10000"/>
              <a:gd name="connsiteY50" fmla="*/ 5730 h 10121"/>
              <a:gd name="connsiteX51" fmla="*/ 5189 w 10000"/>
              <a:gd name="connsiteY51" fmla="*/ 5632 h 10121"/>
              <a:gd name="connsiteX52" fmla="*/ 5149 w 10000"/>
              <a:gd name="connsiteY52" fmla="*/ 5535 h 10121"/>
              <a:gd name="connsiteX53" fmla="*/ 5099 w 10000"/>
              <a:gd name="connsiteY53" fmla="*/ 5442 h 10121"/>
              <a:gd name="connsiteX54" fmla="*/ 5045 w 10000"/>
              <a:gd name="connsiteY54" fmla="*/ 5350 h 10121"/>
              <a:gd name="connsiteX55" fmla="*/ 5045 w 10000"/>
              <a:gd name="connsiteY55" fmla="*/ 5350 h 10121"/>
              <a:gd name="connsiteX56" fmla="*/ 4986 w 10000"/>
              <a:gd name="connsiteY56" fmla="*/ 5266 h 10121"/>
              <a:gd name="connsiteX57" fmla="*/ 4923 w 10000"/>
              <a:gd name="connsiteY57" fmla="*/ 5183 h 10121"/>
              <a:gd name="connsiteX58" fmla="*/ 4856 w 10000"/>
              <a:gd name="connsiteY58" fmla="*/ 5109 h 10121"/>
              <a:gd name="connsiteX59" fmla="*/ 4784 w 10000"/>
              <a:gd name="connsiteY59" fmla="*/ 5035 h 10121"/>
              <a:gd name="connsiteX60" fmla="*/ 4707 w 10000"/>
              <a:gd name="connsiteY60" fmla="*/ 4965 h 10121"/>
              <a:gd name="connsiteX61" fmla="*/ 4631 w 10000"/>
              <a:gd name="connsiteY61" fmla="*/ 4900 h 10121"/>
              <a:gd name="connsiteX62" fmla="*/ 4550 w 10000"/>
              <a:gd name="connsiteY62" fmla="*/ 4836 h 10121"/>
              <a:gd name="connsiteX63" fmla="*/ 4469 w 10000"/>
              <a:gd name="connsiteY63" fmla="*/ 4775 h 10121"/>
              <a:gd name="connsiteX64" fmla="*/ 4469 w 10000"/>
              <a:gd name="connsiteY64" fmla="*/ 4775 h 10121"/>
              <a:gd name="connsiteX65" fmla="*/ 4347 w 10000"/>
              <a:gd name="connsiteY65" fmla="*/ 4687 h 10121"/>
              <a:gd name="connsiteX66" fmla="*/ 4226 w 10000"/>
              <a:gd name="connsiteY66" fmla="*/ 4609 h 10121"/>
              <a:gd name="connsiteX67" fmla="*/ 4104 w 10000"/>
              <a:gd name="connsiteY67" fmla="*/ 4530 h 10121"/>
              <a:gd name="connsiteX68" fmla="*/ 3978 w 10000"/>
              <a:gd name="connsiteY68" fmla="*/ 4456 h 10121"/>
              <a:gd name="connsiteX69" fmla="*/ 3852 w 10000"/>
              <a:gd name="connsiteY69" fmla="*/ 4386 h 10121"/>
              <a:gd name="connsiteX70" fmla="*/ 3722 w 10000"/>
              <a:gd name="connsiteY70" fmla="*/ 4317 h 10121"/>
              <a:gd name="connsiteX71" fmla="*/ 3591 w 10000"/>
              <a:gd name="connsiteY71" fmla="*/ 4252 h 10121"/>
              <a:gd name="connsiteX72" fmla="*/ 3461 w 10000"/>
              <a:gd name="connsiteY72" fmla="*/ 4187 h 10121"/>
              <a:gd name="connsiteX73" fmla="*/ 3461 w 10000"/>
              <a:gd name="connsiteY73" fmla="*/ 4187 h 10121"/>
              <a:gd name="connsiteX74" fmla="*/ 3029 w 10000"/>
              <a:gd name="connsiteY74" fmla="*/ 3993 h 10121"/>
              <a:gd name="connsiteX75" fmla="*/ 2601 w 10000"/>
              <a:gd name="connsiteY75" fmla="*/ 3798 h 10121"/>
              <a:gd name="connsiteX76" fmla="*/ 1742 w 10000"/>
              <a:gd name="connsiteY76" fmla="*/ 3414 h 10121"/>
              <a:gd name="connsiteX77" fmla="*/ 1742 w 10000"/>
              <a:gd name="connsiteY77" fmla="*/ 3414 h 10121"/>
              <a:gd name="connsiteX78" fmla="*/ 1598 w 10000"/>
              <a:gd name="connsiteY78" fmla="*/ 3349 h 10121"/>
              <a:gd name="connsiteX79" fmla="*/ 1454 w 10000"/>
              <a:gd name="connsiteY79" fmla="*/ 3279 h 10121"/>
              <a:gd name="connsiteX80" fmla="*/ 1314 w 10000"/>
              <a:gd name="connsiteY80" fmla="*/ 3205 h 10121"/>
              <a:gd name="connsiteX81" fmla="*/ 1179 w 10000"/>
              <a:gd name="connsiteY81" fmla="*/ 3126 h 10121"/>
              <a:gd name="connsiteX82" fmla="*/ 1049 w 10000"/>
              <a:gd name="connsiteY82" fmla="*/ 3038 h 10121"/>
              <a:gd name="connsiteX83" fmla="*/ 923 w 10000"/>
              <a:gd name="connsiteY83" fmla="*/ 2946 h 10121"/>
              <a:gd name="connsiteX84" fmla="*/ 797 w 10000"/>
              <a:gd name="connsiteY84" fmla="*/ 2849 h 10121"/>
              <a:gd name="connsiteX85" fmla="*/ 680 w 10000"/>
              <a:gd name="connsiteY85" fmla="*/ 2742 h 10121"/>
              <a:gd name="connsiteX86" fmla="*/ 680 w 10000"/>
              <a:gd name="connsiteY86" fmla="*/ 2742 h 10121"/>
              <a:gd name="connsiteX87" fmla="*/ 590 w 10000"/>
              <a:gd name="connsiteY87" fmla="*/ 2649 h 10121"/>
              <a:gd name="connsiteX88" fmla="*/ 504 w 10000"/>
              <a:gd name="connsiteY88" fmla="*/ 2557 h 10121"/>
              <a:gd name="connsiteX89" fmla="*/ 423 w 10000"/>
              <a:gd name="connsiteY89" fmla="*/ 2459 h 10121"/>
              <a:gd name="connsiteX90" fmla="*/ 356 w 10000"/>
              <a:gd name="connsiteY90" fmla="*/ 2362 h 10121"/>
              <a:gd name="connsiteX91" fmla="*/ 288 w 10000"/>
              <a:gd name="connsiteY91" fmla="*/ 2260 h 10121"/>
              <a:gd name="connsiteX92" fmla="*/ 230 w 10000"/>
              <a:gd name="connsiteY92" fmla="*/ 2154 h 10121"/>
              <a:gd name="connsiteX93" fmla="*/ 180 w 10000"/>
              <a:gd name="connsiteY93" fmla="*/ 2047 h 10121"/>
              <a:gd name="connsiteX94" fmla="*/ 131 w 10000"/>
              <a:gd name="connsiteY94" fmla="*/ 1941 h 10121"/>
              <a:gd name="connsiteX95" fmla="*/ 95 w 10000"/>
              <a:gd name="connsiteY95" fmla="*/ 1830 h 10121"/>
              <a:gd name="connsiteX96" fmla="*/ 63 w 10000"/>
              <a:gd name="connsiteY96" fmla="*/ 1714 h 10121"/>
              <a:gd name="connsiteX97" fmla="*/ 36 w 10000"/>
              <a:gd name="connsiteY97" fmla="*/ 1593 h 10121"/>
              <a:gd name="connsiteX98" fmla="*/ 18 w 10000"/>
              <a:gd name="connsiteY98" fmla="*/ 1473 h 10121"/>
              <a:gd name="connsiteX99" fmla="*/ 5 w 10000"/>
              <a:gd name="connsiteY99" fmla="*/ 1352 h 10121"/>
              <a:gd name="connsiteX100" fmla="*/ 0 w 10000"/>
              <a:gd name="connsiteY100" fmla="*/ 1227 h 10121"/>
              <a:gd name="connsiteX101" fmla="*/ 0 w 10000"/>
              <a:gd name="connsiteY101" fmla="*/ 1098 h 10121"/>
              <a:gd name="connsiteX102" fmla="*/ 9 w 10000"/>
              <a:gd name="connsiteY102" fmla="*/ 968 h 10121"/>
              <a:gd name="connsiteX103" fmla="*/ 9 w 10000"/>
              <a:gd name="connsiteY103" fmla="*/ 968 h 10121"/>
              <a:gd name="connsiteX104" fmla="*/ 23 w 10000"/>
              <a:gd name="connsiteY104" fmla="*/ 848 h 10121"/>
              <a:gd name="connsiteX105" fmla="*/ 41 w 10000"/>
              <a:gd name="connsiteY105" fmla="*/ 727 h 10121"/>
              <a:gd name="connsiteX106" fmla="*/ 68 w 10000"/>
              <a:gd name="connsiteY106" fmla="*/ 607 h 10121"/>
              <a:gd name="connsiteX107" fmla="*/ 95 w 10000"/>
              <a:gd name="connsiteY107" fmla="*/ 491 h 10121"/>
              <a:gd name="connsiteX108" fmla="*/ 131 w 10000"/>
              <a:gd name="connsiteY108" fmla="*/ 375 h 10121"/>
              <a:gd name="connsiteX109" fmla="*/ 171 w 10000"/>
              <a:gd name="connsiteY109" fmla="*/ 259 h 10121"/>
              <a:gd name="connsiteX110" fmla="*/ 212 w 10000"/>
              <a:gd name="connsiteY110" fmla="*/ 148 h 10121"/>
              <a:gd name="connsiteX111" fmla="*/ 266 w 10000"/>
              <a:gd name="connsiteY111" fmla="*/ 37 h 10121"/>
              <a:gd name="connsiteX112" fmla="*/ 266 w 10000"/>
              <a:gd name="connsiteY112" fmla="*/ 37 h 10121"/>
              <a:gd name="connsiteX113" fmla="*/ 275 w 10000"/>
              <a:gd name="connsiteY113" fmla="*/ 0 h 10121"/>
              <a:gd name="connsiteX114" fmla="*/ 275 w 10000"/>
              <a:gd name="connsiteY114" fmla="*/ 0 h 10121"/>
              <a:gd name="connsiteX0" fmla="*/ 275 w 10000"/>
              <a:gd name="connsiteY0" fmla="*/ 0 h 10121"/>
              <a:gd name="connsiteX1" fmla="*/ 275 w 10000"/>
              <a:gd name="connsiteY1" fmla="*/ 0 h 10121"/>
              <a:gd name="connsiteX2" fmla="*/ 10000 w 10000"/>
              <a:gd name="connsiteY2" fmla="*/ 0 h 10121"/>
              <a:gd name="connsiteX3" fmla="*/ 10000 w 10000"/>
              <a:gd name="connsiteY3" fmla="*/ 0 h 10121"/>
              <a:gd name="connsiteX4" fmla="*/ 10000 w 10000"/>
              <a:gd name="connsiteY4" fmla="*/ 74 h 10121"/>
              <a:gd name="connsiteX5" fmla="*/ 10000 w 10000"/>
              <a:gd name="connsiteY5" fmla="*/ 74 h 10121"/>
              <a:gd name="connsiteX6" fmla="*/ 10000 w 10000"/>
              <a:gd name="connsiteY6" fmla="*/ 9893 h 10121"/>
              <a:gd name="connsiteX7" fmla="*/ 10000 w 10000"/>
              <a:gd name="connsiteY7" fmla="*/ 9893 h 10121"/>
              <a:gd name="connsiteX8" fmla="*/ 10000 w 10000"/>
              <a:gd name="connsiteY8" fmla="*/ 9940 h 10121"/>
              <a:gd name="connsiteX9" fmla="*/ 10000 w 10000"/>
              <a:gd name="connsiteY9" fmla="*/ 9940 h 10121"/>
              <a:gd name="connsiteX10" fmla="*/ 10000 w 10000"/>
              <a:gd name="connsiteY10" fmla="*/ 9958 h 10121"/>
              <a:gd name="connsiteX11" fmla="*/ 9991 w 10000"/>
              <a:gd name="connsiteY11" fmla="*/ 9972 h 10121"/>
              <a:gd name="connsiteX12" fmla="*/ 9982 w 10000"/>
              <a:gd name="connsiteY12" fmla="*/ 9981 h 10121"/>
              <a:gd name="connsiteX13" fmla="*/ 9959 w 10000"/>
              <a:gd name="connsiteY13" fmla="*/ 9991 h 10121"/>
              <a:gd name="connsiteX14" fmla="*/ 9959 w 10000"/>
              <a:gd name="connsiteY14" fmla="*/ 9991 h 10121"/>
              <a:gd name="connsiteX15" fmla="*/ 9905 w 10000"/>
              <a:gd name="connsiteY15" fmla="*/ 9995 h 10121"/>
              <a:gd name="connsiteX16" fmla="*/ 9847 w 10000"/>
              <a:gd name="connsiteY16" fmla="*/ 10000 h 10121"/>
              <a:gd name="connsiteX17" fmla="*/ 9734 w 10000"/>
              <a:gd name="connsiteY17" fmla="*/ 10000 h 10121"/>
              <a:gd name="connsiteX18" fmla="*/ 9514 w 10000"/>
              <a:gd name="connsiteY18" fmla="*/ 9981 h 10121"/>
              <a:gd name="connsiteX19" fmla="*/ 9514 w 10000"/>
              <a:gd name="connsiteY19" fmla="*/ 9981 h 10121"/>
              <a:gd name="connsiteX20" fmla="*/ 9397 w 10000"/>
              <a:gd name="connsiteY20" fmla="*/ 9963 h 10121"/>
              <a:gd name="connsiteX21" fmla="*/ 9284 w 10000"/>
              <a:gd name="connsiteY21" fmla="*/ 9944 h 10121"/>
              <a:gd name="connsiteX22" fmla="*/ 7052 w 10000"/>
              <a:gd name="connsiteY22" fmla="*/ 8902 h 10121"/>
              <a:gd name="connsiteX23" fmla="*/ 6805 w 10000"/>
              <a:gd name="connsiteY23" fmla="*/ 8736 h 10121"/>
              <a:gd name="connsiteX24" fmla="*/ 6562 w 10000"/>
              <a:gd name="connsiteY24" fmla="*/ 8564 h 10121"/>
              <a:gd name="connsiteX25" fmla="*/ 6319 w 10000"/>
              <a:gd name="connsiteY25" fmla="*/ 8388 h 10121"/>
              <a:gd name="connsiteX26" fmla="*/ 6085 w 10000"/>
              <a:gd name="connsiteY26" fmla="*/ 8208 h 10121"/>
              <a:gd name="connsiteX27" fmla="*/ 5851 w 10000"/>
              <a:gd name="connsiteY27" fmla="*/ 8022 h 10121"/>
              <a:gd name="connsiteX28" fmla="*/ 5621 w 10000"/>
              <a:gd name="connsiteY28" fmla="*/ 7832 h 10121"/>
              <a:gd name="connsiteX29" fmla="*/ 5392 w 10000"/>
              <a:gd name="connsiteY29" fmla="*/ 7642 h 10121"/>
              <a:gd name="connsiteX30" fmla="*/ 5167 w 10000"/>
              <a:gd name="connsiteY30" fmla="*/ 7443 h 10121"/>
              <a:gd name="connsiteX31" fmla="*/ 5167 w 10000"/>
              <a:gd name="connsiteY31" fmla="*/ 7443 h 10121"/>
              <a:gd name="connsiteX32" fmla="*/ 4905 w 10000"/>
              <a:gd name="connsiteY32" fmla="*/ 7216 h 10121"/>
              <a:gd name="connsiteX33" fmla="*/ 4905 w 10000"/>
              <a:gd name="connsiteY33" fmla="*/ 7216 h 10121"/>
              <a:gd name="connsiteX34" fmla="*/ 4995 w 10000"/>
              <a:gd name="connsiteY34" fmla="*/ 7040 h 10121"/>
              <a:gd name="connsiteX35" fmla="*/ 5077 w 10000"/>
              <a:gd name="connsiteY35" fmla="*/ 6864 h 10121"/>
              <a:gd name="connsiteX36" fmla="*/ 5077 w 10000"/>
              <a:gd name="connsiteY36" fmla="*/ 6864 h 10121"/>
              <a:gd name="connsiteX37" fmla="*/ 5113 w 10000"/>
              <a:gd name="connsiteY37" fmla="*/ 6781 h 10121"/>
              <a:gd name="connsiteX38" fmla="*/ 5144 w 10000"/>
              <a:gd name="connsiteY38" fmla="*/ 6693 h 10121"/>
              <a:gd name="connsiteX39" fmla="*/ 5176 w 10000"/>
              <a:gd name="connsiteY39" fmla="*/ 6605 h 10121"/>
              <a:gd name="connsiteX40" fmla="*/ 5203 w 10000"/>
              <a:gd name="connsiteY40" fmla="*/ 6517 h 10121"/>
              <a:gd name="connsiteX41" fmla="*/ 5225 w 10000"/>
              <a:gd name="connsiteY41" fmla="*/ 6424 h 10121"/>
              <a:gd name="connsiteX42" fmla="*/ 5243 w 10000"/>
              <a:gd name="connsiteY42" fmla="*/ 6336 h 10121"/>
              <a:gd name="connsiteX43" fmla="*/ 5252 w 10000"/>
              <a:gd name="connsiteY43" fmla="*/ 6244 h 10121"/>
              <a:gd name="connsiteX44" fmla="*/ 5261 w 10000"/>
              <a:gd name="connsiteY44" fmla="*/ 6146 h 10121"/>
              <a:gd name="connsiteX45" fmla="*/ 5261 w 10000"/>
              <a:gd name="connsiteY45" fmla="*/ 6146 h 10121"/>
              <a:gd name="connsiteX46" fmla="*/ 5266 w 10000"/>
              <a:gd name="connsiteY46" fmla="*/ 6040 h 10121"/>
              <a:gd name="connsiteX47" fmla="*/ 5257 w 10000"/>
              <a:gd name="connsiteY47" fmla="*/ 5933 h 10121"/>
              <a:gd name="connsiteX48" fmla="*/ 5243 w 10000"/>
              <a:gd name="connsiteY48" fmla="*/ 5831 h 10121"/>
              <a:gd name="connsiteX49" fmla="*/ 5221 w 10000"/>
              <a:gd name="connsiteY49" fmla="*/ 5730 h 10121"/>
              <a:gd name="connsiteX50" fmla="*/ 5189 w 10000"/>
              <a:gd name="connsiteY50" fmla="*/ 5632 h 10121"/>
              <a:gd name="connsiteX51" fmla="*/ 5149 w 10000"/>
              <a:gd name="connsiteY51" fmla="*/ 5535 h 10121"/>
              <a:gd name="connsiteX52" fmla="*/ 5099 w 10000"/>
              <a:gd name="connsiteY52" fmla="*/ 5442 h 10121"/>
              <a:gd name="connsiteX53" fmla="*/ 5045 w 10000"/>
              <a:gd name="connsiteY53" fmla="*/ 5350 h 10121"/>
              <a:gd name="connsiteX54" fmla="*/ 5045 w 10000"/>
              <a:gd name="connsiteY54" fmla="*/ 5350 h 10121"/>
              <a:gd name="connsiteX55" fmla="*/ 4986 w 10000"/>
              <a:gd name="connsiteY55" fmla="*/ 5266 h 10121"/>
              <a:gd name="connsiteX56" fmla="*/ 4923 w 10000"/>
              <a:gd name="connsiteY56" fmla="*/ 5183 h 10121"/>
              <a:gd name="connsiteX57" fmla="*/ 4856 w 10000"/>
              <a:gd name="connsiteY57" fmla="*/ 5109 h 10121"/>
              <a:gd name="connsiteX58" fmla="*/ 4784 w 10000"/>
              <a:gd name="connsiteY58" fmla="*/ 5035 h 10121"/>
              <a:gd name="connsiteX59" fmla="*/ 4707 w 10000"/>
              <a:gd name="connsiteY59" fmla="*/ 4965 h 10121"/>
              <a:gd name="connsiteX60" fmla="*/ 4631 w 10000"/>
              <a:gd name="connsiteY60" fmla="*/ 4900 h 10121"/>
              <a:gd name="connsiteX61" fmla="*/ 4550 w 10000"/>
              <a:gd name="connsiteY61" fmla="*/ 4836 h 10121"/>
              <a:gd name="connsiteX62" fmla="*/ 4469 w 10000"/>
              <a:gd name="connsiteY62" fmla="*/ 4775 h 10121"/>
              <a:gd name="connsiteX63" fmla="*/ 4469 w 10000"/>
              <a:gd name="connsiteY63" fmla="*/ 4775 h 10121"/>
              <a:gd name="connsiteX64" fmla="*/ 4347 w 10000"/>
              <a:gd name="connsiteY64" fmla="*/ 4687 h 10121"/>
              <a:gd name="connsiteX65" fmla="*/ 4226 w 10000"/>
              <a:gd name="connsiteY65" fmla="*/ 4609 h 10121"/>
              <a:gd name="connsiteX66" fmla="*/ 4104 w 10000"/>
              <a:gd name="connsiteY66" fmla="*/ 4530 h 10121"/>
              <a:gd name="connsiteX67" fmla="*/ 3978 w 10000"/>
              <a:gd name="connsiteY67" fmla="*/ 4456 h 10121"/>
              <a:gd name="connsiteX68" fmla="*/ 3852 w 10000"/>
              <a:gd name="connsiteY68" fmla="*/ 4386 h 10121"/>
              <a:gd name="connsiteX69" fmla="*/ 3722 w 10000"/>
              <a:gd name="connsiteY69" fmla="*/ 4317 h 10121"/>
              <a:gd name="connsiteX70" fmla="*/ 3591 w 10000"/>
              <a:gd name="connsiteY70" fmla="*/ 4252 h 10121"/>
              <a:gd name="connsiteX71" fmla="*/ 3461 w 10000"/>
              <a:gd name="connsiteY71" fmla="*/ 4187 h 10121"/>
              <a:gd name="connsiteX72" fmla="*/ 3461 w 10000"/>
              <a:gd name="connsiteY72" fmla="*/ 4187 h 10121"/>
              <a:gd name="connsiteX73" fmla="*/ 3029 w 10000"/>
              <a:gd name="connsiteY73" fmla="*/ 3993 h 10121"/>
              <a:gd name="connsiteX74" fmla="*/ 2601 w 10000"/>
              <a:gd name="connsiteY74" fmla="*/ 3798 h 10121"/>
              <a:gd name="connsiteX75" fmla="*/ 1742 w 10000"/>
              <a:gd name="connsiteY75" fmla="*/ 3414 h 10121"/>
              <a:gd name="connsiteX76" fmla="*/ 1742 w 10000"/>
              <a:gd name="connsiteY76" fmla="*/ 3414 h 10121"/>
              <a:gd name="connsiteX77" fmla="*/ 1598 w 10000"/>
              <a:gd name="connsiteY77" fmla="*/ 3349 h 10121"/>
              <a:gd name="connsiteX78" fmla="*/ 1454 w 10000"/>
              <a:gd name="connsiteY78" fmla="*/ 3279 h 10121"/>
              <a:gd name="connsiteX79" fmla="*/ 1314 w 10000"/>
              <a:gd name="connsiteY79" fmla="*/ 3205 h 10121"/>
              <a:gd name="connsiteX80" fmla="*/ 1179 w 10000"/>
              <a:gd name="connsiteY80" fmla="*/ 3126 h 10121"/>
              <a:gd name="connsiteX81" fmla="*/ 1049 w 10000"/>
              <a:gd name="connsiteY81" fmla="*/ 3038 h 10121"/>
              <a:gd name="connsiteX82" fmla="*/ 923 w 10000"/>
              <a:gd name="connsiteY82" fmla="*/ 2946 h 10121"/>
              <a:gd name="connsiteX83" fmla="*/ 797 w 10000"/>
              <a:gd name="connsiteY83" fmla="*/ 2849 h 10121"/>
              <a:gd name="connsiteX84" fmla="*/ 680 w 10000"/>
              <a:gd name="connsiteY84" fmla="*/ 2742 h 10121"/>
              <a:gd name="connsiteX85" fmla="*/ 680 w 10000"/>
              <a:gd name="connsiteY85" fmla="*/ 2742 h 10121"/>
              <a:gd name="connsiteX86" fmla="*/ 590 w 10000"/>
              <a:gd name="connsiteY86" fmla="*/ 2649 h 10121"/>
              <a:gd name="connsiteX87" fmla="*/ 504 w 10000"/>
              <a:gd name="connsiteY87" fmla="*/ 2557 h 10121"/>
              <a:gd name="connsiteX88" fmla="*/ 423 w 10000"/>
              <a:gd name="connsiteY88" fmla="*/ 2459 h 10121"/>
              <a:gd name="connsiteX89" fmla="*/ 356 w 10000"/>
              <a:gd name="connsiteY89" fmla="*/ 2362 h 10121"/>
              <a:gd name="connsiteX90" fmla="*/ 288 w 10000"/>
              <a:gd name="connsiteY90" fmla="*/ 2260 h 10121"/>
              <a:gd name="connsiteX91" fmla="*/ 230 w 10000"/>
              <a:gd name="connsiteY91" fmla="*/ 2154 h 10121"/>
              <a:gd name="connsiteX92" fmla="*/ 180 w 10000"/>
              <a:gd name="connsiteY92" fmla="*/ 2047 h 10121"/>
              <a:gd name="connsiteX93" fmla="*/ 131 w 10000"/>
              <a:gd name="connsiteY93" fmla="*/ 1941 h 10121"/>
              <a:gd name="connsiteX94" fmla="*/ 95 w 10000"/>
              <a:gd name="connsiteY94" fmla="*/ 1830 h 10121"/>
              <a:gd name="connsiteX95" fmla="*/ 63 w 10000"/>
              <a:gd name="connsiteY95" fmla="*/ 1714 h 10121"/>
              <a:gd name="connsiteX96" fmla="*/ 36 w 10000"/>
              <a:gd name="connsiteY96" fmla="*/ 1593 h 10121"/>
              <a:gd name="connsiteX97" fmla="*/ 18 w 10000"/>
              <a:gd name="connsiteY97" fmla="*/ 1473 h 10121"/>
              <a:gd name="connsiteX98" fmla="*/ 5 w 10000"/>
              <a:gd name="connsiteY98" fmla="*/ 1352 h 10121"/>
              <a:gd name="connsiteX99" fmla="*/ 0 w 10000"/>
              <a:gd name="connsiteY99" fmla="*/ 1227 h 10121"/>
              <a:gd name="connsiteX100" fmla="*/ 0 w 10000"/>
              <a:gd name="connsiteY100" fmla="*/ 1098 h 10121"/>
              <a:gd name="connsiteX101" fmla="*/ 9 w 10000"/>
              <a:gd name="connsiteY101" fmla="*/ 968 h 10121"/>
              <a:gd name="connsiteX102" fmla="*/ 9 w 10000"/>
              <a:gd name="connsiteY102" fmla="*/ 968 h 10121"/>
              <a:gd name="connsiteX103" fmla="*/ 23 w 10000"/>
              <a:gd name="connsiteY103" fmla="*/ 848 h 10121"/>
              <a:gd name="connsiteX104" fmla="*/ 41 w 10000"/>
              <a:gd name="connsiteY104" fmla="*/ 727 h 10121"/>
              <a:gd name="connsiteX105" fmla="*/ 68 w 10000"/>
              <a:gd name="connsiteY105" fmla="*/ 607 h 10121"/>
              <a:gd name="connsiteX106" fmla="*/ 95 w 10000"/>
              <a:gd name="connsiteY106" fmla="*/ 491 h 10121"/>
              <a:gd name="connsiteX107" fmla="*/ 131 w 10000"/>
              <a:gd name="connsiteY107" fmla="*/ 375 h 10121"/>
              <a:gd name="connsiteX108" fmla="*/ 171 w 10000"/>
              <a:gd name="connsiteY108" fmla="*/ 259 h 10121"/>
              <a:gd name="connsiteX109" fmla="*/ 212 w 10000"/>
              <a:gd name="connsiteY109" fmla="*/ 148 h 10121"/>
              <a:gd name="connsiteX110" fmla="*/ 266 w 10000"/>
              <a:gd name="connsiteY110" fmla="*/ 37 h 10121"/>
              <a:gd name="connsiteX111" fmla="*/ 266 w 10000"/>
              <a:gd name="connsiteY111" fmla="*/ 37 h 10121"/>
              <a:gd name="connsiteX112" fmla="*/ 275 w 10000"/>
              <a:gd name="connsiteY112" fmla="*/ 0 h 10121"/>
              <a:gd name="connsiteX113" fmla="*/ 275 w 10000"/>
              <a:gd name="connsiteY113" fmla="*/ 0 h 10121"/>
              <a:gd name="connsiteX0" fmla="*/ 275 w 10000"/>
              <a:gd name="connsiteY0" fmla="*/ 0 h 10121"/>
              <a:gd name="connsiteX1" fmla="*/ 275 w 10000"/>
              <a:gd name="connsiteY1" fmla="*/ 0 h 10121"/>
              <a:gd name="connsiteX2" fmla="*/ 10000 w 10000"/>
              <a:gd name="connsiteY2" fmla="*/ 0 h 10121"/>
              <a:gd name="connsiteX3" fmla="*/ 10000 w 10000"/>
              <a:gd name="connsiteY3" fmla="*/ 0 h 10121"/>
              <a:gd name="connsiteX4" fmla="*/ 10000 w 10000"/>
              <a:gd name="connsiteY4" fmla="*/ 74 h 10121"/>
              <a:gd name="connsiteX5" fmla="*/ 10000 w 10000"/>
              <a:gd name="connsiteY5" fmla="*/ 74 h 10121"/>
              <a:gd name="connsiteX6" fmla="*/ 10000 w 10000"/>
              <a:gd name="connsiteY6" fmla="*/ 9893 h 10121"/>
              <a:gd name="connsiteX7" fmla="*/ 10000 w 10000"/>
              <a:gd name="connsiteY7" fmla="*/ 9893 h 10121"/>
              <a:gd name="connsiteX8" fmla="*/ 10000 w 10000"/>
              <a:gd name="connsiteY8" fmla="*/ 9940 h 10121"/>
              <a:gd name="connsiteX9" fmla="*/ 10000 w 10000"/>
              <a:gd name="connsiteY9" fmla="*/ 9940 h 10121"/>
              <a:gd name="connsiteX10" fmla="*/ 10000 w 10000"/>
              <a:gd name="connsiteY10" fmla="*/ 9958 h 10121"/>
              <a:gd name="connsiteX11" fmla="*/ 9991 w 10000"/>
              <a:gd name="connsiteY11" fmla="*/ 9972 h 10121"/>
              <a:gd name="connsiteX12" fmla="*/ 9982 w 10000"/>
              <a:gd name="connsiteY12" fmla="*/ 9981 h 10121"/>
              <a:gd name="connsiteX13" fmla="*/ 9959 w 10000"/>
              <a:gd name="connsiteY13" fmla="*/ 9991 h 10121"/>
              <a:gd name="connsiteX14" fmla="*/ 9959 w 10000"/>
              <a:gd name="connsiteY14" fmla="*/ 9991 h 10121"/>
              <a:gd name="connsiteX15" fmla="*/ 9905 w 10000"/>
              <a:gd name="connsiteY15" fmla="*/ 9995 h 10121"/>
              <a:gd name="connsiteX16" fmla="*/ 9847 w 10000"/>
              <a:gd name="connsiteY16" fmla="*/ 10000 h 10121"/>
              <a:gd name="connsiteX17" fmla="*/ 9734 w 10000"/>
              <a:gd name="connsiteY17" fmla="*/ 10000 h 10121"/>
              <a:gd name="connsiteX18" fmla="*/ 9514 w 10000"/>
              <a:gd name="connsiteY18" fmla="*/ 9981 h 10121"/>
              <a:gd name="connsiteX19" fmla="*/ 9397 w 10000"/>
              <a:gd name="connsiteY19" fmla="*/ 9963 h 10121"/>
              <a:gd name="connsiteX20" fmla="*/ 9284 w 10000"/>
              <a:gd name="connsiteY20" fmla="*/ 9944 h 10121"/>
              <a:gd name="connsiteX21" fmla="*/ 7052 w 10000"/>
              <a:gd name="connsiteY21" fmla="*/ 8902 h 10121"/>
              <a:gd name="connsiteX22" fmla="*/ 6805 w 10000"/>
              <a:gd name="connsiteY22" fmla="*/ 8736 h 10121"/>
              <a:gd name="connsiteX23" fmla="*/ 6562 w 10000"/>
              <a:gd name="connsiteY23" fmla="*/ 8564 h 10121"/>
              <a:gd name="connsiteX24" fmla="*/ 6319 w 10000"/>
              <a:gd name="connsiteY24" fmla="*/ 8388 h 10121"/>
              <a:gd name="connsiteX25" fmla="*/ 6085 w 10000"/>
              <a:gd name="connsiteY25" fmla="*/ 8208 h 10121"/>
              <a:gd name="connsiteX26" fmla="*/ 5851 w 10000"/>
              <a:gd name="connsiteY26" fmla="*/ 8022 h 10121"/>
              <a:gd name="connsiteX27" fmla="*/ 5621 w 10000"/>
              <a:gd name="connsiteY27" fmla="*/ 7832 h 10121"/>
              <a:gd name="connsiteX28" fmla="*/ 5392 w 10000"/>
              <a:gd name="connsiteY28" fmla="*/ 7642 h 10121"/>
              <a:gd name="connsiteX29" fmla="*/ 5167 w 10000"/>
              <a:gd name="connsiteY29" fmla="*/ 7443 h 10121"/>
              <a:gd name="connsiteX30" fmla="*/ 5167 w 10000"/>
              <a:gd name="connsiteY30" fmla="*/ 7443 h 10121"/>
              <a:gd name="connsiteX31" fmla="*/ 4905 w 10000"/>
              <a:gd name="connsiteY31" fmla="*/ 7216 h 10121"/>
              <a:gd name="connsiteX32" fmla="*/ 4905 w 10000"/>
              <a:gd name="connsiteY32" fmla="*/ 7216 h 10121"/>
              <a:gd name="connsiteX33" fmla="*/ 4995 w 10000"/>
              <a:gd name="connsiteY33" fmla="*/ 7040 h 10121"/>
              <a:gd name="connsiteX34" fmla="*/ 5077 w 10000"/>
              <a:gd name="connsiteY34" fmla="*/ 6864 h 10121"/>
              <a:gd name="connsiteX35" fmla="*/ 5077 w 10000"/>
              <a:gd name="connsiteY35" fmla="*/ 6864 h 10121"/>
              <a:gd name="connsiteX36" fmla="*/ 5113 w 10000"/>
              <a:gd name="connsiteY36" fmla="*/ 6781 h 10121"/>
              <a:gd name="connsiteX37" fmla="*/ 5144 w 10000"/>
              <a:gd name="connsiteY37" fmla="*/ 6693 h 10121"/>
              <a:gd name="connsiteX38" fmla="*/ 5176 w 10000"/>
              <a:gd name="connsiteY38" fmla="*/ 6605 h 10121"/>
              <a:gd name="connsiteX39" fmla="*/ 5203 w 10000"/>
              <a:gd name="connsiteY39" fmla="*/ 6517 h 10121"/>
              <a:gd name="connsiteX40" fmla="*/ 5225 w 10000"/>
              <a:gd name="connsiteY40" fmla="*/ 6424 h 10121"/>
              <a:gd name="connsiteX41" fmla="*/ 5243 w 10000"/>
              <a:gd name="connsiteY41" fmla="*/ 6336 h 10121"/>
              <a:gd name="connsiteX42" fmla="*/ 5252 w 10000"/>
              <a:gd name="connsiteY42" fmla="*/ 6244 h 10121"/>
              <a:gd name="connsiteX43" fmla="*/ 5261 w 10000"/>
              <a:gd name="connsiteY43" fmla="*/ 6146 h 10121"/>
              <a:gd name="connsiteX44" fmla="*/ 5261 w 10000"/>
              <a:gd name="connsiteY44" fmla="*/ 6146 h 10121"/>
              <a:gd name="connsiteX45" fmla="*/ 5266 w 10000"/>
              <a:gd name="connsiteY45" fmla="*/ 6040 h 10121"/>
              <a:gd name="connsiteX46" fmla="*/ 5257 w 10000"/>
              <a:gd name="connsiteY46" fmla="*/ 5933 h 10121"/>
              <a:gd name="connsiteX47" fmla="*/ 5243 w 10000"/>
              <a:gd name="connsiteY47" fmla="*/ 5831 h 10121"/>
              <a:gd name="connsiteX48" fmla="*/ 5221 w 10000"/>
              <a:gd name="connsiteY48" fmla="*/ 5730 h 10121"/>
              <a:gd name="connsiteX49" fmla="*/ 5189 w 10000"/>
              <a:gd name="connsiteY49" fmla="*/ 5632 h 10121"/>
              <a:gd name="connsiteX50" fmla="*/ 5149 w 10000"/>
              <a:gd name="connsiteY50" fmla="*/ 5535 h 10121"/>
              <a:gd name="connsiteX51" fmla="*/ 5099 w 10000"/>
              <a:gd name="connsiteY51" fmla="*/ 5442 h 10121"/>
              <a:gd name="connsiteX52" fmla="*/ 5045 w 10000"/>
              <a:gd name="connsiteY52" fmla="*/ 5350 h 10121"/>
              <a:gd name="connsiteX53" fmla="*/ 5045 w 10000"/>
              <a:gd name="connsiteY53" fmla="*/ 5350 h 10121"/>
              <a:gd name="connsiteX54" fmla="*/ 4986 w 10000"/>
              <a:gd name="connsiteY54" fmla="*/ 5266 h 10121"/>
              <a:gd name="connsiteX55" fmla="*/ 4923 w 10000"/>
              <a:gd name="connsiteY55" fmla="*/ 5183 h 10121"/>
              <a:gd name="connsiteX56" fmla="*/ 4856 w 10000"/>
              <a:gd name="connsiteY56" fmla="*/ 5109 h 10121"/>
              <a:gd name="connsiteX57" fmla="*/ 4784 w 10000"/>
              <a:gd name="connsiteY57" fmla="*/ 5035 h 10121"/>
              <a:gd name="connsiteX58" fmla="*/ 4707 w 10000"/>
              <a:gd name="connsiteY58" fmla="*/ 4965 h 10121"/>
              <a:gd name="connsiteX59" fmla="*/ 4631 w 10000"/>
              <a:gd name="connsiteY59" fmla="*/ 4900 h 10121"/>
              <a:gd name="connsiteX60" fmla="*/ 4550 w 10000"/>
              <a:gd name="connsiteY60" fmla="*/ 4836 h 10121"/>
              <a:gd name="connsiteX61" fmla="*/ 4469 w 10000"/>
              <a:gd name="connsiteY61" fmla="*/ 4775 h 10121"/>
              <a:gd name="connsiteX62" fmla="*/ 4469 w 10000"/>
              <a:gd name="connsiteY62" fmla="*/ 4775 h 10121"/>
              <a:gd name="connsiteX63" fmla="*/ 4347 w 10000"/>
              <a:gd name="connsiteY63" fmla="*/ 4687 h 10121"/>
              <a:gd name="connsiteX64" fmla="*/ 4226 w 10000"/>
              <a:gd name="connsiteY64" fmla="*/ 4609 h 10121"/>
              <a:gd name="connsiteX65" fmla="*/ 4104 w 10000"/>
              <a:gd name="connsiteY65" fmla="*/ 4530 h 10121"/>
              <a:gd name="connsiteX66" fmla="*/ 3978 w 10000"/>
              <a:gd name="connsiteY66" fmla="*/ 4456 h 10121"/>
              <a:gd name="connsiteX67" fmla="*/ 3852 w 10000"/>
              <a:gd name="connsiteY67" fmla="*/ 4386 h 10121"/>
              <a:gd name="connsiteX68" fmla="*/ 3722 w 10000"/>
              <a:gd name="connsiteY68" fmla="*/ 4317 h 10121"/>
              <a:gd name="connsiteX69" fmla="*/ 3591 w 10000"/>
              <a:gd name="connsiteY69" fmla="*/ 4252 h 10121"/>
              <a:gd name="connsiteX70" fmla="*/ 3461 w 10000"/>
              <a:gd name="connsiteY70" fmla="*/ 4187 h 10121"/>
              <a:gd name="connsiteX71" fmla="*/ 3461 w 10000"/>
              <a:gd name="connsiteY71" fmla="*/ 4187 h 10121"/>
              <a:gd name="connsiteX72" fmla="*/ 3029 w 10000"/>
              <a:gd name="connsiteY72" fmla="*/ 3993 h 10121"/>
              <a:gd name="connsiteX73" fmla="*/ 2601 w 10000"/>
              <a:gd name="connsiteY73" fmla="*/ 3798 h 10121"/>
              <a:gd name="connsiteX74" fmla="*/ 1742 w 10000"/>
              <a:gd name="connsiteY74" fmla="*/ 3414 h 10121"/>
              <a:gd name="connsiteX75" fmla="*/ 1742 w 10000"/>
              <a:gd name="connsiteY75" fmla="*/ 3414 h 10121"/>
              <a:gd name="connsiteX76" fmla="*/ 1598 w 10000"/>
              <a:gd name="connsiteY76" fmla="*/ 3349 h 10121"/>
              <a:gd name="connsiteX77" fmla="*/ 1454 w 10000"/>
              <a:gd name="connsiteY77" fmla="*/ 3279 h 10121"/>
              <a:gd name="connsiteX78" fmla="*/ 1314 w 10000"/>
              <a:gd name="connsiteY78" fmla="*/ 3205 h 10121"/>
              <a:gd name="connsiteX79" fmla="*/ 1179 w 10000"/>
              <a:gd name="connsiteY79" fmla="*/ 3126 h 10121"/>
              <a:gd name="connsiteX80" fmla="*/ 1049 w 10000"/>
              <a:gd name="connsiteY80" fmla="*/ 3038 h 10121"/>
              <a:gd name="connsiteX81" fmla="*/ 923 w 10000"/>
              <a:gd name="connsiteY81" fmla="*/ 2946 h 10121"/>
              <a:gd name="connsiteX82" fmla="*/ 797 w 10000"/>
              <a:gd name="connsiteY82" fmla="*/ 2849 h 10121"/>
              <a:gd name="connsiteX83" fmla="*/ 680 w 10000"/>
              <a:gd name="connsiteY83" fmla="*/ 2742 h 10121"/>
              <a:gd name="connsiteX84" fmla="*/ 680 w 10000"/>
              <a:gd name="connsiteY84" fmla="*/ 2742 h 10121"/>
              <a:gd name="connsiteX85" fmla="*/ 590 w 10000"/>
              <a:gd name="connsiteY85" fmla="*/ 2649 h 10121"/>
              <a:gd name="connsiteX86" fmla="*/ 504 w 10000"/>
              <a:gd name="connsiteY86" fmla="*/ 2557 h 10121"/>
              <a:gd name="connsiteX87" fmla="*/ 423 w 10000"/>
              <a:gd name="connsiteY87" fmla="*/ 2459 h 10121"/>
              <a:gd name="connsiteX88" fmla="*/ 356 w 10000"/>
              <a:gd name="connsiteY88" fmla="*/ 2362 h 10121"/>
              <a:gd name="connsiteX89" fmla="*/ 288 w 10000"/>
              <a:gd name="connsiteY89" fmla="*/ 2260 h 10121"/>
              <a:gd name="connsiteX90" fmla="*/ 230 w 10000"/>
              <a:gd name="connsiteY90" fmla="*/ 2154 h 10121"/>
              <a:gd name="connsiteX91" fmla="*/ 180 w 10000"/>
              <a:gd name="connsiteY91" fmla="*/ 2047 h 10121"/>
              <a:gd name="connsiteX92" fmla="*/ 131 w 10000"/>
              <a:gd name="connsiteY92" fmla="*/ 1941 h 10121"/>
              <a:gd name="connsiteX93" fmla="*/ 95 w 10000"/>
              <a:gd name="connsiteY93" fmla="*/ 1830 h 10121"/>
              <a:gd name="connsiteX94" fmla="*/ 63 w 10000"/>
              <a:gd name="connsiteY94" fmla="*/ 1714 h 10121"/>
              <a:gd name="connsiteX95" fmla="*/ 36 w 10000"/>
              <a:gd name="connsiteY95" fmla="*/ 1593 h 10121"/>
              <a:gd name="connsiteX96" fmla="*/ 18 w 10000"/>
              <a:gd name="connsiteY96" fmla="*/ 1473 h 10121"/>
              <a:gd name="connsiteX97" fmla="*/ 5 w 10000"/>
              <a:gd name="connsiteY97" fmla="*/ 1352 h 10121"/>
              <a:gd name="connsiteX98" fmla="*/ 0 w 10000"/>
              <a:gd name="connsiteY98" fmla="*/ 1227 h 10121"/>
              <a:gd name="connsiteX99" fmla="*/ 0 w 10000"/>
              <a:gd name="connsiteY99" fmla="*/ 1098 h 10121"/>
              <a:gd name="connsiteX100" fmla="*/ 9 w 10000"/>
              <a:gd name="connsiteY100" fmla="*/ 968 h 10121"/>
              <a:gd name="connsiteX101" fmla="*/ 9 w 10000"/>
              <a:gd name="connsiteY101" fmla="*/ 968 h 10121"/>
              <a:gd name="connsiteX102" fmla="*/ 23 w 10000"/>
              <a:gd name="connsiteY102" fmla="*/ 848 h 10121"/>
              <a:gd name="connsiteX103" fmla="*/ 41 w 10000"/>
              <a:gd name="connsiteY103" fmla="*/ 727 h 10121"/>
              <a:gd name="connsiteX104" fmla="*/ 68 w 10000"/>
              <a:gd name="connsiteY104" fmla="*/ 607 h 10121"/>
              <a:gd name="connsiteX105" fmla="*/ 95 w 10000"/>
              <a:gd name="connsiteY105" fmla="*/ 491 h 10121"/>
              <a:gd name="connsiteX106" fmla="*/ 131 w 10000"/>
              <a:gd name="connsiteY106" fmla="*/ 375 h 10121"/>
              <a:gd name="connsiteX107" fmla="*/ 171 w 10000"/>
              <a:gd name="connsiteY107" fmla="*/ 259 h 10121"/>
              <a:gd name="connsiteX108" fmla="*/ 212 w 10000"/>
              <a:gd name="connsiteY108" fmla="*/ 148 h 10121"/>
              <a:gd name="connsiteX109" fmla="*/ 266 w 10000"/>
              <a:gd name="connsiteY109" fmla="*/ 37 h 10121"/>
              <a:gd name="connsiteX110" fmla="*/ 266 w 10000"/>
              <a:gd name="connsiteY110" fmla="*/ 37 h 10121"/>
              <a:gd name="connsiteX111" fmla="*/ 275 w 10000"/>
              <a:gd name="connsiteY111" fmla="*/ 0 h 10121"/>
              <a:gd name="connsiteX112" fmla="*/ 275 w 10000"/>
              <a:gd name="connsiteY112" fmla="*/ 0 h 10121"/>
              <a:gd name="connsiteX0" fmla="*/ 275 w 10000"/>
              <a:gd name="connsiteY0" fmla="*/ 0 h 10121"/>
              <a:gd name="connsiteX1" fmla="*/ 275 w 10000"/>
              <a:gd name="connsiteY1" fmla="*/ 0 h 10121"/>
              <a:gd name="connsiteX2" fmla="*/ 10000 w 10000"/>
              <a:gd name="connsiteY2" fmla="*/ 0 h 10121"/>
              <a:gd name="connsiteX3" fmla="*/ 10000 w 10000"/>
              <a:gd name="connsiteY3" fmla="*/ 0 h 10121"/>
              <a:gd name="connsiteX4" fmla="*/ 10000 w 10000"/>
              <a:gd name="connsiteY4" fmla="*/ 74 h 10121"/>
              <a:gd name="connsiteX5" fmla="*/ 10000 w 10000"/>
              <a:gd name="connsiteY5" fmla="*/ 74 h 10121"/>
              <a:gd name="connsiteX6" fmla="*/ 10000 w 10000"/>
              <a:gd name="connsiteY6" fmla="*/ 9893 h 10121"/>
              <a:gd name="connsiteX7" fmla="*/ 10000 w 10000"/>
              <a:gd name="connsiteY7" fmla="*/ 9893 h 10121"/>
              <a:gd name="connsiteX8" fmla="*/ 10000 w 10000"/>
              <a:gd name="connsiteY8" fmla="*/ 9940 h 10121"/>
              <a:gd name="connsiteX9" fmla="*/ 10000 w 10000"/>
              <a:gd name="connsiteY9" fmla="*/ 9940 h 10121"/>
              <a:gd name="connsiteX10" fmla="*/ 10000 w 10000"/>
              <a:gd name="connsiteY10" fmla="*/ 9958 h 10121"/>
              <a:gd name="connsiteX11" fmla="*/ 9991 w 10000"/>
              <a:gd name="connsiteY11" fmla="*/ 9972 h 10121"/>
              <a:gd name="connsiteX12" fmla="*/ 9982 w 10000"/>
              <a:gd name="connsiteY12" fmla="*/ 9981 h 10121"/>
              <a:gd name="connsiteX13" fmla="*/ 9959 w 10000"/>
              <a:gd name="connsiteY13" fmla="*/ 9991 h 10121"/>
              <a:gd name="connsiteX14" fmla="*/ 9959 w 10000"/>
              <a:gd name="connsiteY14" fmla="*/ 9991 h 10121"/>
              <a:gd name="connsiteX15" fmla="*/ 9905 w 10000"/>
              <a:gd name="connsiteY15" fmla="*/ 9995 h 10121"/>
              <a:gd name="connsiteX16" fmla="*/ 9847 w 10000"/>
              <a:gd name="connsiteY16" fmla="*/ 10000 h 10121"/>
              <a:gd name="connsiteX17" fmla="*/ 9734 w 10000"/>
              <a:gd name="connsiteY17" fmla="*/ 10000 h 10121"/>
              <a:gd name="connsiteX18" fmla="*/ 9397 w 10000"/>
              <a:gd name="connsiteY18" fmla="*/ 9963 h 10121"/>
              <a:gd name="connsiteX19" fmla="*/ 9284 w 10000"/>
              <a:gd name="connsiteY19" fmla="*/ 9944 h 10121"/>
              <a:gd name="connsiteX20" fmla="*/ 7052 w 10000"/>
              <a:gd name="connsiteY20" fmla="*/ 8902 h 10121"/>
              <a:gd name="connsiteX21" fmla="*/ 6805 w 10000"/>
              <a:gd name="connsiteY21" fmla="*/ 8736 h 10121"/>
              <a:gd name="connsiteX22" fmla="*/ 6562 w 10000"/>
              <a:gd name="connsiteY22" fmla="*/ 8564 h 10121"/>
              <a:gd name="connsiteX23" fmla="*/ 6319 w 10000"/>
              <a:gd name="connsiteY23" fmla="*/ 8388 h 10121"/>
              <a:gd name="connsiteX24" fmla="*/ 6085 w 10000"/>
              <a:gd name="connsiteY24" fmla="*/ 8208 h 10121"/>
              <a:gd name="connsiteX25" fmla="*/ 5851 w 10000"/>
              <a:gd name="connsiteY25" fmla="*/ 8022 h 10121"/>
              <a:gd name="connsiteX26" fmla="*/ 5621 w 10000"/>
              <a:gd name="connsiteY26" fmla="*/ 7832 h 10121"/>
              <a:gd name="connsiteX27" fmla="*/ 5392 w 10000"/>
              <a:gd name="connsiteY27" fmla="*/ 7642 h 10121"/>
              <a:gd name="connsiteX28" fmla="*/ 5167 w 10000"/>
              <a:gd name="connsiteY28" fmla="*/ 7443 h 10121"/>
              <a:gd name="connsiteX29" fmla="*/ 5167 w 10000"/>
              <a:gd name="connsiteY29" fmla="*/ 7443 h 10121"/>
              <a:gd name="connsiteX30" fmla="*/ 4905 w 10000"/>
              <a:gd name="connsiteY30" fmla="*/ 7216 h 10121"/>
              <a:gd name="connsiteX31" fmla="*/ 4905 w 10000"/>
              <a:gd name="connsiteY31" fmla="*/ 7216 h 10121"/>
              <a:gd name="connsiteX32" fmla="*/ 4995 w 10000"/>
              <a:gd name="connsiteY32" fmla="*/ 7040 h 10121"/>
              <a:gd name="connsiteX33" fmla="*/ 5077 w 10000"/>
              <a:gd name="connsiteY33" fmla="*/ 6864 h 10121"/>
              <a:gd name="connsiteX34" fmla="*/ 5077 w 10000"/>
              <a:gd name="connsiteY34" fmla="*/ 6864 h 10121"/>
              <a:gd name="connsiteX35" fmla="*/ 5113 w 10000"/>
              <a:gd name="connsiteY35" fmla="*/ 6781 h 10121"/>
              <a:gd name="connsiteX36" fmla="*/ 5144 w 10000"/>
              <a:gd name="connsiteY36" fmla="*/ 6693 h 10121"/>
              <a:gd name="connsiteX37" fmla="*/ 5176 w 10000"/>
              <a:gd name="connsiteY37" fmla="*/ 6605 h 10121"/>
              <a:gd name="connsiteX38" fmla="*/ 5203 w 10000"/>
              <a:gd name="connsiteY38" fmla="*/ 6517 h 10121"/>
              <a:gd name="connsiteX39" fmla="*/ 5225 w 10000"/>
              <a:gd name="connsiteY39" fmla="*/ 6424 h 10121"/>
              <a:gd name="connsiteX40" fmla="*/ 5243 w 10000"/>
              <a:gd name="connsiteY40" fmla="*/ 6336 h 10121"/>
              <a:gd name="connsiteX41" fmla="*/ 5252 w 10000"/>
              <a:gd name="connsiteY41" fmla="*/ 6244 h 10121"/>
              <a:gd name="connsiteX42" fmla="*/ 5261 w 10000"/>
              <a:gd name="connsiteY42" fmla="*/ 6146 h 10121"/>
              <a:gd name="connsiteX43" fmla="*/ 5261 w 10000"/>
              <a:gd name="connsiteY43" fmla="*/ 6146 h 10121"/>
              <a:gd name="connsiteX44" fmla="*/ 5266 w 10000"/>
              <a:gd name="connsiteY44" fmla="*/ 6040 h 10121"/>
              <a:gd name="connsiteX45" fmla="*/ 5257 w 10000"/>
              <a:gd name="connsiteY45" fmla="*/ 5933 h 10121"/>
              <a:gd name="connsiteX46" fmla="*/ 5243 w 10000"/>
              <a:gd name="connsiteY46" fmla="*/ 5831 h 10121"/>
              <a:gd name="connsiteX47" fmla="*/ 5221 w 10000"/>
              <a:gd name="connsiteY47" fmla="*/ 5730 h 10121"/>
              <a:gd name="connsiteX48" fmla="*/ 5189 w 10000"/>
              <a:gd name="connsiteY48" fmla="*/ 5632 h 10121"/>
              <a:gd name="connsiteX49" fmla="*/ 5149 w 10000"/>
              <a:gd name="connsiteY49" fmla="*/ 5535 h 10121"/>
              <a:gd name="connsiteX50" fmla="*/ 5099 w 10000"/>
              <a:gd name="connsiteY50" fmla="*/ 5442 h 10121"/>
              <a:gd name="connsiteX51" fmla="*/ 5045 w 10000"/>
              <a:gd name="connsiteY51" fmla="*/ 5350 h 10121"/>
              <a:gd name="connsiteX52" fmla="*/ 5045 w 10000"/>
              <a:gd name="connsiteY52" fmla="*/ 5350 h 10121"/>
              <a:gd name="connsiteX53" fmla="*/ 4986 w 10000"/>
              <a:gd name="connsiteY53" fmla="*/ 5266 h 10121"/>
              <a:gd name="connsiteX54" fmla="*/ 4923 w 10000"/>
              <a:gd name="connsiteY54" fmla="*/ 5183 h 10121"/>
              <a:gd name="connsiteX55" fmla="*/ 4856 w 10000"/>
              <a:gd name="connsiteY55" fmla="*/ 5109 h 10121"/>
              <a:gd name="connsiteX56" fmla="*/ 4784 w 10000"/>
              <a:gd name="connsiteY56" fmla="*/ 5035 h 10121"/>
              <a:gd name="connsiteX57" fmla="*/ 4707 w 10000"/>
              <a:gd name="connsiteY57" fmla="*/ 4965 h 10121"/>
              <a:gd name="connsiteX58" fmla="*/ 4631 w 10000"/>
              <a:gd name="connsiteY58" fmla="*/ 4900 h 10121"/>
              <a:gd name="connsiteX59" fmla="*/ 4550 w 10000"/>
              <a:gd name="connsiteY59" fmla="*/ 4836 h 10121"/>
              <a:gd name="connsiteX60" fmla="*/ 4469 w 10000"/>
              <a:gd name="connsiteY60" fmla="*/ 4775 h 10121"/>
              <a:gd name="connsiteX61" fmla="*/ 4469 w 10000"/>
              <a:gd name="connsiteY61" fmla="*/ 4775 h 10121"/>
              <a:gd name="connsiteX62" fmla="*/ 4347 w 10000"/>
              <a:gd name="connsiteY62" fmla="*/ 4687 h 10121"/>
              <a:gd name="connsiteX63" fmla="*/ 4226 w 10000"/>
              <a:gd name="connsiteY63" fmla="*/ 4609 h 10121"/>
              <a:gd name="connsiteX64" fmla="*/ 4104 w 10000"/>
              <a:gd name="connsiteY64" fmla="*/ 4530 h 10121"/>
              <a:gd name="connsiteX65" fmla="*/ 3978 w 10000"/>
              <a:gd name="connsiteY65" fmla="*/ 4456 h 10121"/>
              <a:gd name="connsiteX66" fmla="*/ 3852 w 10000"/>
              <a:gd name="connsiteY66" fmla="*/ 4386 h 10121"/>
              <a:gd name="connsiteX67" fmla="*/ 3722 w 10000"/>
              <a:gd name="connsiteY67" fmla="*/ 4317 h 10121"/>
              <a:gd name="connsiteX68" fmla="*/ 3591 w 10000"/>
              <a:gd name="connsiteY68" fmla="*/ 4252 h 10121"/>
              <a:gd name="connsiteX69" fmla="*/ 3461 w 10000"/>
              <a:gd name="connsiteY69" fmla="*/ 4187 h 10121"/>
              <a:gd name="connsiteX70" fmla="*/ 3461 w 10000"/>
              <a:gd name="connsiteY70" fmla="*/ 4187 h 10121"/>
              <a:gd name="connsiteX71" fmla="*/ 3029 w 10000"/>
              <a:gd name="connsiteY71" fmla="*/ 3993 h 10121"/>
              <a:gd name="connsiteX72" fmla="*/ 2601 w 10000"/>
              <a:gd name="connsiteY72" fmla="*/ 3798 h 10121"/>
              <a:gd name="connsiteX73" fmla="*/ 1742 w 10000"/>
              <a:gd name="connsiteY73" fmla="*/ 3414 h 10121"/>
              <a:gd name="connsiteX74" fmla="*/ 1742 w 10000"/>
              <a:gd name="connsiteY74" fmla="*/ 3414 h 10121"/>
              <a:gd name="connsiteX75" fmla="*/ 1598 w 10000"/>
              <a:gd name="connsiteY75" fmla="*/ 3349 h 10121"/>
              <a:gd name="connsiteX76" fmla="*/ 1454 w 10000"/>
              <a:gd name="connsiteY76" fmla="*/ 3279 h 10121"/>
              <a:gd name="connsiteX77" fmla="*/ 1314 w 10000"/>
              <a:gd name="connsiteY77" fmla="*/ 3205 h 10121"/>
              <a:gd name="connsiteX78" fmla="*/ 1179 w 10000"/>
              <a:gd name="connsiteY78" fmla="*/ 3126 h 10121"/>
              <a:gd name="connsiteX79" fmla="*/ 1049 w 10000"/>
              <a:gd name="connsiteY79" fmla="*/ 3038 h 10121"/>
              <a:gd name="connsiteX80" fmla="*/ 923 w 10000"/>
              <a:gd name="connsiteY80" fmla="*/ 2946 h 10121"/>
              <a:gd name="connsiteX81" fmla="*/ 797 w 10000"/>
              <a:gd name="connsiteY81" fmla="*/ 2849 h 10121"/>
              <a:gd name="connsiteX82" fmla="*/ 680 w 10000"/>
              <a:gd name="connsiteY82" fmla="*/ 2742 h 10121"/>
              <a:gd name="connsiteX83" fmla="*/ 680 w 10000"/>
              <a:gd name="connsiteY83" fmla="*/ 2742 h 10121"/>
              <a:gd name="connsiteX84" fmla="*/ 590 w 10000"/>
              <a:gd name="connsiteY84" fmla="*/ 2649 h 10121"/>
              <a:gd name="connsiteX85" fmla="*/ 504 w 10000"/>
              <a:gd name="connsiteY85" fmla="*/ 2557 h 10121"/>
              <a:gd name="connsiteX86" fmla="*/ 423 w 10000"/>
              <a:gd name="connsiteY86" fmla="*/ 2459 h 10121"/>
              <a:gd name="connsiteX87" fmla="*/ 356 w 10000"/>
              <a:gd name="connsiteY87" fmla="*/ 2362 h 10121"/>
              <a:gd name="connsiteX88" fmla="*/ 288 w 10000"/>
              <a:gd name="connsiteY88" fmla="*/ 2260 h 10121"/>
              <a:gd name="connsiteX89" fmla="*/ 230 w 10000"/>
              <a:gd name="connsiteY89" fmla="*/ 2154 h 10121"/>
              <a:gd name="connsiteX90" fmla="*/ 180 w 10000"/>
              <a:gd name="connsiteY90" fmla="*/ 2047 h 10121"/>
              <a:gd name="connsiteX91" fmla="*/ 131 w 10000"/>
              <a:gd name="connsiteY91" fmla="*/ 1941 h 10121"/>
              <a:gd name="connsiteX92" fmla="*/ 95 w 10000"/>
              <a:gd name="connsiteY92" fmla="*/ 1830 h 10121"/>
              <a:gd name="connsiteX93" fmla="*/ 63 w 10000"/>
              <a:gd name="connsiteY93" fmla="*/ 1714 h 10121"/>
              <a:gd name="connsiteX94" fmla="*/ 36 w 10000"/>
              <a:gd name="connsiteY94" fmla="*/ 1593 h 10121"/>
              <a:gd name="connsiteX95" fmla="*/ 18 w 10000"/>
              <a:gd name="connsiteY95" fmla="*/ 1473 h 10121"/>
              <a:gd name="connsiteX96" fmla="*/ 5 w 10000"/>
              <a:gd name="connsiteY96" fmla="*/ 1352 h 10121"/>
              <a:gd name="connsiteX97" fmla="*/ 0 w 10000"/>
              <a:gd name="connsiteY97" fmla="*/ 1227 h 10121"/>
              <a:gd name="connsiteX98" fmla="*/ 0 w 10000"/>
              <a:gd name="connsiteY98" fmla="*/ 1098 h 10121"/>
              <a:gd name="connsiteX99" fmla="*/ 9 w 10000"/>
              <a:gd name="connsiteY99" fmla="*/ 968 h 10121"/>
              <a:gd name="connsiteX100" fmla="*/ 9 w 10000"/>
              <a:gd name="connsiteY100" fmla="*/ 968 h 10121"/>
              <a:gd name="connsiteX101" fmla="*/ 23 w 10000"/>
              <a:gd name="connsiteY101" fmla="*/ 848 h 10121"/>
              <a:gd name="connsiteX102" fmla="*/ 41 w 10000"/>
              <a:gd name="connsiteY102" fmla="*/ 727 h 10121"/>
              <a:gd name="connsiteX103" fmla="*/ 68 w 10000"/>
              <a:gd name="connsiteY103" fmla="*/ 607 h 10121"/>
              <a:gd name="connsiteX104" fmla="*/ 95 w 10000"/>
              <a:gd name="connsiteY104" fmla="*/ 491 h 10121"/>
              <a:gd name="connsiteX105" fmla="*/ 131 w 10000"/>
              <a:gd name="connsiteY105" fmla="*/ 375 h 10121"/>
              <a:gd name="connsiteX106" fmla="*/ 171 w 10000"/>
              <a:gd name="connsiteY106" fmla="*/ 259 h 10121"/>
              <a:gd name="connsiteX107" fmla="*/ 212 w 10000"/>
              <a:gd name="connsiteY107" fmla="*/ 148 h 10121"/>
              <a:gd name="connsiteX108" fmla="*/ 266 w 10000"/>
              <a:gd name="connsiteY108" fmla="*/ 37 h 10121"/>
              <a:gd name="connsiteX109" fmla="*/ 266 w 10000"/>
              <a:gd name="connsiteY109" fmla="*/ 37 h 10121"/>
              <a:gd name="connsiteX110" fmla="*/ 275 w 10000"/>
              <a:gd name="connsiteY110" fmla="*/ 0 h 10121"/>
              <a:gd name="connsiteX111" fmla="*/ 275 w 10000"/>
              <a:gd name="connsiteY111" fmla="*/ 0 h 10121"/>
              <a:gd name="connsiteX0" fmla="*/ 275 w 10000"/>
              <a:gd name="connsiteY0" fmla="*/ 0 h 10000"/>
              <a:gd name="connsiteX1" fmla="*/ 275 w 10000"/>
              <a:gd name="connsiteY1" fmla="*/ 0 h 10000"/>
              <a:gd name="connsiteX2" fmla="*/ 10000 w 10000"/>
              <a:gd name="connsiteY2" fmla="*/ 0 h 10000"/>
              <a:gd name="connsiteX3" fmla="*/ 10000 w 10000"/>
              <a:gd name="connsiteY3" fmla="*/ 0 h 10000"/>
              <a:gd name="connsiteX4" fmla="*/ 10000 w 10000"/>
              <a:gd name="connsiteY4" fmla="*/ 74 h 10000"/>
              <a:gd name="connsiteX5" fmla="*/ 10000 w 10000"/>
              <a:gd name="connsiteY5" fmla="*/ 74 h 10000"/>
              <a:gd name="connsiteX6" fmla="*/ 10000 w 10000"/>
              <a:gd name="connsiteY6" fmla="*/ 9893 h 10000"/>
              <a:gd name="connsiteX7" fmla="*/ 10000 w 10000"/>
              <a:gd name="connsiteY7" fmla="*/ 9893 h 10000"/>
              <a:gd name="connsiteX8" fmla="*/ 10000 w 10000"/>
              <a:gd name="connsiteY8" fmla="*/ 9940 h 10000"/>
              <a:gd name="connsiteX9" fmla="*/ 10000 w 10000"/>
              <a:gd name="connsiteY9" fmla="*/ 9940 h 10000"/>
              <a:gd name="connsiteX10" fmla="*/ 10000 w 10000"/>
              <a:gd name="connsiteY10" fmla="*/ 9958 h 10000"/>
              <a:gd name="connsiteX11" fmla="*/ 9991 w 10000"/>
              <a:gd name="connsiteY11" fmla="*/ 9972 h 10000"/>
              <a:gd name="connsiteX12" fmla="*/ 9982 w 10000"/>
              <a:gd name="connsiteY12" fmla="*/ 9981 h 10000"/>
              <a:gd name="connsiteX13" fmla="*/ 9959 w 10000"/>
              <a:gd name="connsiteY13" fmla="*/ 9991 h 10000"/>
              <a:gd name="connsiteX14" fmla="*/ 9959 w 10000"/>
              <a:gd name="connsiteY14" fmla="*/ 9991 h 10000"/>
              <a:gd name="connsiteX15" fmla="*/ 9905 w 10000"/>
              <a:gd name="connsiteY15" fmla="*/ 9995 h 10000"/>
              <a:gd name="connsiteX16" fmla="*/ 9847 w 10000"/>
              <a:gd name="connsiteY16" fmla="*/ 10000 h 10000"/>
              <a:gd name="connsiteX17" fmla="*/ 9734 w 10000"/>
              <a:gd name="connsiteY17" fmla="*/ 10000 h 10000"/>
              <a:gd name="connsiteX18" fmla="*/ 9284 w 10000"/>
              <a:gd name="connsiteY18" fmla="*/ 9944 h 10000"/>
              <a:gd name="connsiteX19" fmla="*/ 7052 w 10000"/>
              <a:gd name="connsiteY19" fmla="*/ 8902 h 10000"/>
              <a:gd name="connsiteX20" fmla="*/ 6805 w 10000"/>
              <a:gd name="connsiteY20" fmla="*/ 8736 h 10000"/>
              <a:gd name="connsiteX21" fmla="*/ 6562 w 10000"/>
              <a:gd name="connsiteY21" fmla="*/ 8564 h 10000"/>
              <a:gd name="connsiteX22" fmla="*/ 6319 w 10000"/>
              <a:gd name="connsiteY22" fmla="*/ 8388 h 10000"/>
              <a:gd name="connsiteX23" fmla="*/ 6085 w 10000"/>
              <a:gd name="connsiteY23" fmla="*/ 8208 h 10000"/>
              <a:gd name="connsiteX24" fmla="*/ 5851 w 10000"/>
              <a:gd name="connsiteY24" fmla="*/ 8022 h 10000"/>
              <a:gd name="connsiteX25" fmla="*/ 5621 w 10000"/>
              <a:gd name="connsiteY25" fmla="*/ 7832 h 10000"/>
              <a:gd name="connsiteX26" fmla="*/ 5392 w 10000"/>
              <a:gd name="connsiteY26" fmla="*/ 7642 h 10000"/>
              <a:gd name="connsiteX27" fmla="*/ 5167 w 10000"/>
              <a:gd name="connsiteY27" fmla="*/ 7443 h 10000"/>
              <a:gd name="connsiteX28" fmla="*/ 5167 w 10000"/>
              <a:gd name="connsiteY28" fmla="*/ 7443 h 10000"/>
              <a:gd name="connsiteX29" fmla="*/ 4905 w 10000"/>
              <a:gd name="connsiteY29" fmla="*/ 7216 h 10000"/>
              <a:gd name="connsiteX30" fmla="*/ 4905 w 10000"/>
              <a:gd name="connsiteY30" fmla="*/ 7216 h 10000"/>
              <a:gd name="connsiteX31" fmla="*/ 4995 w 10000"/>
              <a:gd name="connsiteY31" fmla="*/ 7040 h 10000"/>
              <a:gd name="connsiteX32" fmla="*/ 5077 w 10000"/>
              <a:gd name="connsiteY32" fmla="*/ 6864 h 10000"/>
              <a:gd name="connsiteX33" fmla="*/ 5077 w 10000"/>
              <a:gd name="connsiteY33" fmla="*/ 6864 h 10000"/>
              <a:gd name="connsiteX34" fmla="*/ 5113 w 10000"/>
              <a:gd name="connsiteY34" fmla="*/ 6781 h 10000"/>
              <a:gd name="connsiteX35" fmla="*/ 5144 w 10000"/>
              <a:gd name="connsiteY35" fmla="*/ 6693 h 10000"/>
              <a:gd name="connsiteX36" fmla="*/ 5176 w 10000"/>
              <a:gd name="connsiteY36" fmla="*/ 6605 h 10000"/>
              <a:gd name="connsiteX37" fmla="*/ 5203 w 10000"/>
              <a:gd name="connsiteY37" fmla="*/ 6517 h 10000"/>
              <a:gd name="connsiteX38" fmla="*/ 5225 w 10000"/>
              <a:gd name="connsiteY38" fmla="*/ 6424 h 10000"/>
              <a:gd name="connsiteX39" fmla="*/ 5243 w 10000"/>
              <a:gd name="connsiteY39" fmla="*/ 6336 h 10000"/>
              <a:gd name="connsiteX40" fmla="*/ 5252 w 10000"/>
              <a:gd name="connsiteY40" fmla="*/ 6244 h 10000"/>
              <a:gd name="connsiteX41" fmla="*/ 5261 w 10000"/>
              <a:gd name="connsiteY41" fmla="*/ 6146 h 10000"/>
              <a:gd name="connsiteX42" fmla="*/ 5261 w 10000"/>
              <a:gd name="connsiteY42" fmla="*/ 6146 h 10000"/>
              <a:gd name="connsiteX43" fmla="*/ 5266 w 10000"/>
              <a:gd name="connsiteY43" fmla="*/ 6040 h 10000"/>
              <a:gd name="connsiteX44" fmla="*/ 5257 w 10000"/>
              <a:gd name="connsiteY44" fmla="*/ 5933 h 10000"/>
              <a:gd name="connsiteX45" fmla="*/ 5243 w 10000"/>
              <a:gd name="connsiteY45" fmla="*/ 5831 h 10000"/>
              <a:gd name="connsiteX46" fmla="*/ 5221 w 10000"/>
              <a:gd name="connsiteY46" fmla="*/ 5730 h 10000"/>
              <a:gd name="connsiteX47" fmla="*/ 5189 w 10000"/>
              <a:gd name="connsiteY47" fmla="*/ 5632 h 10000"/>
              <a:gd name="connsiteX48" fmla="*/ 5149 w 10000"/>
              <a:gd name="connsiteY48" fmla="*/ 5535 h 10000"/>
              <a:gd name="connsiteX49" fmla="*/ 5099 w 10000"/>
              <a:gd name="connsiteY49" fmla="*/ 5442 h 10000"/>
              <a:gd name="connsiteX50" fmla="*/ 5045 w 10000"/>
              <a:gd name="connsiteY50" fmla="*/ 5350 h 10000"/>
              <a:gd name="connsiteX51" fmla="*/ 5045 w 10000"/>
              <a:gd name="connsiteY51" fmla="*/ 5350 h 10000"/>
              <a:gd name="connsiteX52" fmla="*/ 4986 w 10000"/>
              <a:gd name="connsiteY52" fmla="*/ 5266 h 10000"/>
              <a:gd name="connsiteX53" fmla="*/ 4923 w 10000"/>
              <a:gd name="connsiteY53" fmla="*/ 5183 h 10000"/>
              <a:gd name="connsiteX54" fmla="*/ 4856 w 10000"/>
              <a:gd name="connsiteY54" fmla="*/ 5109 h 10000"/>
              <a:gd name="connsiteX55" fmla="*/ 4784 w 10000"/>
              <a:gd name="connsiteY55" fmla="*/ 5035 h 10000"/>
              <a:gd name="connsiteX56" fmla="*/ 4707 w 10000"/>
              <a:gd name="connsiteY56" fmla="*/ 4965 h 10000"/>
              <a:gd name="connsiteX57" fmla="*/ 4631 w 10000"/>
              <a:gd name="connsiteY57" fmla="*/ 4900 h 10000"/>
              <a:gd name="connsiteX58" fmla="*/ 4550 w 10000"/>
              <a:gd name="connsiteY58" fmla="*/ 4836 h 10000"/>
              <a:gd name="connsiteX59" fmla="*/ 4469 w 10000"/>
              <a:gd name="connsiteY59" fmla="*/ 4775 h 10000"/>
              <a:gd name="connsiteX60" fmla="*/ 4469 w 10000"/>
              <a:gd name="connsiteY60" fmla="*/ 4775 h 10000"/>
              <a:gd name="connsiteX61" fmla="*/ 4347 w 10000"/>
              <a:gd name="connsiteY61" fmla="*/ 4687 h 10000"/>
              <a:gd name="connsiteX62" fmla="*/ 4226 w 10000"/>
              <a:gd name="connsiteY62" fmla="*/ 4609 h 10000"/>
              <a:gd name="connsiteX63" fmla="*/ 4104 w 10000"/>
              <a:gd name="connsiteY63" fmla="*/ 4530 h 10000"/>
              <a:gd name="connsiteX64" fmla="*/ 3978 w 10000"/>
              <a:gd name="connsiteY64" fmla="*/ 4456 h 10000"/>
              <a:gd name="connsiteX65" fmla="*/ 3852 w 10000"/>
              <a:gd name="connsiteY65" fmla="*/ 4386 h 10000"/>
              <a:gd name="connsiteX66" fmla="*/ 3722 w 10000"/>
              <a:gd name="connsiteY66" fmla="*/ 4317 h 10000"/>
              <a:gd name="connsiteX67" fmla="*/ 3591 w 10000"/>
              <a:gd name="connsiteY67" fmla="*/ 4252 h 10000"/>
              <a:gd name="connsiteX68" fmla="*/ 3461 w 10000"/>
              <a:gd name="connsiteY68" fmla="*/ 4187 h 10000"/>
              <a:gd name="connsiteX69" fmla="*/ 3461 w 10000"/>
              <a:gd name="connsiteY69" fmla="*/ 4187 h 10000"/>
              <a:gd name="connsiteX70" fmla="*/ 3029 w 10000"/>
              <a:gd name="connsiteY70" fmla="*/ 3993 h 10000"/>
              <a:gd name="connsiteX71" fmla="*/ 2601 w 10000"/>
              <a:gd name="connsiteY71" fmla="*/ 3798 h 10000"/>
              <a:gd name="connsiteX72" fmla="*/ 1742 w 10000"/>
              <a:gd name="connsiteY72" fmla="*/ 3414 h 10000"/>
              <a:gd name="connsiteX73" fmla="*/ 1742 w 10000"/>
              <a:gd name="connsiteY73" fmla="*/ 3414 h 10000"/>
              <a:gd name="connsiteX74" fmla="*/ 1598 w 10000"/>
              <a:gd name="connsiteY74" fmla="*/ 3349 h 10000"/>
              <a:gd name="connsiteX75" fmla="*/ 1454 w 10000"/>
              <a:gd name="connsiteY75" fmla="*/ 3279 h 10000"/>
              <a:gd name="connsiteX76" fmla="*/ 1314 w 10000"/>
              <a:gd name="connsiteY76" fmla="*/ 3205 h 10000"/>
              <a:gd name="connsiteX77" fmla="*/ 1179 w 10000"/>
              <a:gd name="connsiteY77" fmla="*/ 3126 h 10000"/>
              <a:gd name="connsiteX78" fmla="*/ 1049 w 10000"/>
              <a:gd name="connsiteY78" fmla="*/ 3038 h 10000"/>
              <a:gd name="connsiteX79" fmla="*/ 923 w 10000"/>
              <a:gd name="connsiteY79" fmla="*/ 2946 h 10000"/>
              <a:gd name="connsiteX80" fmla="*/ 797 w 10000"/>
              <a:gd name="connsiteY80" fmla="*/ 2849 h 10000"/>
              <a:gd name="connsiteX81" fmla="*/ 680 w 10000"/>
              <a:gd name="connsiteY81" fmla="*/ 2742 h 10000"/>
              <a:gd name="connsiteX82" fmla="*/ 680 w 10000"/>
              <a:gd name="connsiteY82" fmla="*/ 2742 h 10000"/>
              <a:gd name="connsiteX83" fmla="*/ 590 w 10000"/>
              <a:gd name="connsiteY83" fmla="*/ 2649 h 10000"/>
              <a:gd name="connsiteX84" fmla="*/ 504 w 10000"/>
              <a:gd name="connsiteY84" fmla="*/ 2557 h 10000"/>
              <a:gd name="connsiteX85" fmla="*/ 423 w 10000"/>
              <a:gd name="connsiteY85" fmla="*/ 2459 h 10000"/>
              <a:gd name="connsiteX86" fmla="*/ 356 w 10000"/>
              <a:gd name="connsiteY86" fmla="*/ 2362 h 10000"/>
              <a:gd name="connsiteX87" fmla="*/ 288 w 10000"/>
              <a:gd name="connsiteY87" fmla="*/ 2260 h 10000"/>
              <a:gd name="connsiteX88" fmla="*/ 230 w 10000"/>
              <a:gd name="connsiteY88" fmla="*/ 2154 h 10000"/>
              <a:gd name="connsiteX89" fmla="*/ 180 w 10000"/>
              <a:gd name="connsiteY89" fmla="*/ 2047 h 10000"/>
              <a:gd name="connsiteX90" fmla="*/ 131 w 10000"/>
              <a:gd name="connsiteY90" fmla="*/ 1941 h 10000"/>
              <a:gd name="connsiteX91" fmla="*/ 95 w 10000"/>
              <a:gd name="connsiteY91" fmla="*/ 1830 h 10000"/>
              <a:gd name="connsiteX92" fmla="*/ 63 w 10000"/>
              <a:gd name="connsiteY92" fmla="*/ 1714 h 10000"/>
              <a:gd name="connsiteX93" fmla="*/ 36 w 10000"/>
              <a:gd name="connsiteY93" fmla="*/ 1593 h 10000"/>
              <a:gd name="connsiteX94" fmla="*/ 18 w 10000"/>
              <a:gd name="connsiteY94" fmla="*/ 1473 h 10000"/>
              <a:gd name="connsiteX95" fmla="*/ 5 w 10000"/>
              <a:gd name="connsiteY95" fmla="*/ 1352 h 10000"/>
              <a:gd name="connsiteX96" fmla="*/ 0 w 10000"/>
              <a:gd name="connsiteY96" fmla="*/ 1227 h 10000"/>
              <a:gd name="connsiteX97" fmla="*/ 0 w 10000"/>
              <a:gd name="connsiteY97" fmla="*/ 1098 h 10000"/>
              <a:gd name="connsiteX98" fmla="*/ 9 w 10000"/>
              <a:gd name="connsiteY98" fmla="*/ 968 h 10000"/>
              <a:gd name="connsiteX99" fmla="*/ 9 w 10000"/>
              <a:gd name="connsiteY99" fmla="*/ 968 h 10000"/>
              <a:gd name="connsiteX100" fmla="*/ 23 w 10000"/>
              <a:gd name="connsiteY100" fmla="*/ 848 h 10000"/>
              <a:gd name="connsiteX101" fmla="*/ 41 w 10000"/>
              <a:gd name="connsiteY101" fmla="*/ 727 h 10000"/>
              <a:gd name="connsiteX102" fmla="*/ 68 w 10000"/>
              <a:gd name="connsiteY102" fmla="*/ 607 h 10000"/>
              <a:gd name="connsiteX103" fmla="*/ 95 w 10000"/>
              <a:gd name="connsiteY103" fmla="*/ 491 h 10000"/>
              <a:gd name="connsiteX104" fmla="*/ 131 w 10000"/>
              <a:gd name="connsiteY104" fmla="*/ 375 h 10000"/>
              <a:gd name="connsiteX105" fmla="*/ 171 w 10000"/>
              <a:gd name="connsiteY105" fmla="*/ 259 h 10000"/>
              <a:gd name="connsiteX106" fmla="*/ 212 w 10000"/>
              <a:gd name="connsiteY106" fmla="*/ 148 h 10000"/>
              <a:gd name="connsiteX107" fmla="*/ 266 w 10000"/>
              <a:gd name="connsiteY107" fmla="*/ 37 h 10000"/>
              <a:gd name="connsiteX108" fmla="*/ 266 w 10000"/>
              <a:gd name="connsiteY108" fmla="*/ 37 h 10000"/>
              <a:gd name="connsiteX109" fmla="*/ 275 w 10000"/>
              <a:gd name="connsiteY109" fmla="*/ 0 h 10000"/>
              <a:gd name="connsiteX110" fmla="*/ 275 w 10000"/>
              <a:gd name="connsiteY110" fmla="*/ 0 h 10000"/>
              <a:gd name="connsiteX0" fmla="*/ 275 w 10000"/>
              <a:gd name="connsiteY0" fmla="*/ 0 h 10000"/>
              <a:gd name="connsiteX1" fmla="*/ 275 w 10000"/>
              <a:gd name="connsiteY1" fmla="*/ 0 h 10000"/>
              <a:gd name="connsiteX2" fmla="*/ 10000 w 10000"/>
              <a:gd name="connsiteY2" fmla="*/ 0 h 10000"/>
              <a:gd name="connsiteX3" fmla="*/ 10000 w 10000"/>
              <a:gd name="connsiteY3" fmla="*/ 0 h 10000"/>
              <a:gd name="connsiteX4" fmla="*/ 10000 w 10000"/>
              <a:gd name="connsiteY4" fmla="*/ 74 h 10000"/>
              <a:gd name="connsiteX5" fmla="*/ 10000 w 10000"/>
              <a:gd name="connsiteY5" fmla="*/ 74 h 10000"/>
              <a:gd name="connsiteX6" fmla="*/ 10000 w 10000"/>
              <a:gd name="connsiteY6" fmla="*/ 9893 h 10000"/>
              <a:gd name="connsiteX7" fmla="*/ 10000 w 10000"/>
              <a:gd name="connsiteY7" fmla="*/ 9893 h 10000"/>
              <a:gd name="connsiteX8" fmla="*/ 10000 w 10000"/>
              <a:gd name="connsiteY8" fmla="*/ 9940 h 10000"/>
              <a:gd name="connsiteX9" fmla="*/ 10000 w 10000"/>
              <a:gd name="connsiteY9" fmla="*/ 9940 h 10000"/>
              <a:gd name="connsiteX10" fmla="*/ 10000 w 10000"/>
              <a:gd name="connsiteY10" fmla="*/ 9958 h 10000"/>
              <a:gd name="connsiteX11" fmla="*/ 9991 w 10000"/>
              <a:gd name="connsiteY11" fmla="*/ 9972 h 10000"/>
              <a:gd name="connsiteX12" fmla="*/ 9982 w 10000"/>
              <a:gd name="connsiteY12" fmla="*/ 9981 h 10000"/>
              <a:gd name="connsiteX13" fmla="*/ 9959 w 10000"/>
              <a:gd name="connsiteY13" fmla="*/ 9991 h 10000"/>
              <a:gd name="connsiteX14" fmla="*/ 9959 w 10000"/>
              <a:gd name="connsiteY14" fmla="*/ 9991 h 10000"/>
              <a:gd name="connsiteX15" fmla="*/ 9905 w 10000"/>
              <a:gd name="connsiteY15" fmla="*/ 9995 h 10000"/>
              <a:gd name="connsiteX16" fmla="*/ 9847 w 10000"/>
              <a:gd name="connsiteY16" fmla="*/ 10000 h 10000"/>
              <a:gd name="connsiteX17" fmla="*/ 9734 w 10000"/>
              <a:gd name="connsiteY17" fmla="*/ 10000 h 10000"/>
              <a:gd name="connsiteX18" fmla="*/ 7052 w 10000"/>
              <a:gd name="connsiteY18" fmla="*/ 8902 h 10000"/>
              <a:gd name="connsiteX19" fmla="*/ 6805 w 10000"/>
              <a:gd name="connsiteY19" fmla="*/ 8736 h 10000"/>
              <a:gd name="connsiteX20" fmla="*/ 6562 w 10000"/>
              <a:gd name="connsiteY20" fmla="*/ 8564 h 10000"/>
              <a:gd name="connsiteX21" fmla="*/ 6319 w 10000"/>
              <a:gd name="connsiteY21" fmla="*/ 8388 h 10000"/>
              <a:gd name="connsiteX22" fmla="*/ 6085 w 10000"/>
              <a:gd name="connsiteY22" fmla="*/ 8208 h 10000"/>
              <a:gd name="connsiteX23" fmla="*/ 5851 w 10000"/>
              <a:gd name="connsiteY23" fmla="*/ 8022 h 10000"/>
              <a:gd name="connsiteX24" fmla="*/ 5621 w 10000"/>
              <a:gd name="connsiteY24" fmla="*/ 7832 h 10000"/>
              <a:gd name="connsiteX25" fmla="*/ 5392 w 10000"/>
              <a:gd name="connsiteY25" fmla="*/ 7642 h 10000"/>
              <a:gd name="connsiteX26" fmla="*/ 5167 w 10000"/>
              <a:gd name="connsiteY26" fmla="*/ 7443 h 10000"/>
              <a:gd name="connsiteX27" fmla="*/ 5167 w 10000"/>
              <a:gd name="connsiteY27" fmla="*/ 7443 h 10000"/>
              <a:gd name="connsiteX28" fmla="*/ 4905 w 10000"/>
              <a:gd name="connsiteY28" fmla="*/ 7216 h 10000"/>
              <a:gd name="connsiteX29" fmla="*/ 4905 w 10000"/>
              <a:gd name="connsiteY29" fmla="*/ 7216 h 10000"/>
              <a:gd name="connsiteX30" fmla="*/ 4995 w 10000"/>
              <a:gd name="connsiteY30" fmla="*/ 7040 h 10000"/>
              <a:gd name="connsiteX31" fmla="*/ 5077 w 10000"/>
              <a:gd name="connsiteY31" fmla="*/ 6864 h 10000"/>
              <a:gd name="connsiteX32" fmla="*/ 5077 w 10000"/>
              <a:gd name="connsiteY32" fmla="*/ 6864 h 10000"/>
              <a:gd name="connsiteX33" fmla="*/ 5113 w 10000"/>
              <a:gd name="connsiteY33" fmla="*/ 6781 h 10000"/>
              <a:gd name="connsiteX34" fmla="*/ 5144 w 10000"/>
              <a:gd name="connsiteY34" fmla="*/ 6693 h 10000"/>
              <a:gd name="connsiteX35" fmla="*/ 5176 w 10000"/>
              <a:gd name="connsiteY35" fmla="*/ 6605 h 10000"/>
              <a:gd name="connsiteX36" fmla="*/ 5203 w 10000"/>
              <a:gd name="connsiteY36" fmla="*/ 6517 h 10000"/>
              <a:gd name="connsiteX37" fmla="*/ 5225 w 10000"/>
              <a:gd name="connsiteY37" fmla="*/ 6424 h 10000"/>
              <a:gd name="connsiteX38" fmla="*/ 5243 w 10000"/>
              <a:gd name="connsiteY38" fmla="*/ 6336 h 10000"/>
              <a:gd name="connsiteX39" fmla="*/ 5252 w 10000"/>
              <a:gd name="connsiteY39" fmla="*/ 6244 h 10000"/>
              <a:gd name="connsiteX40" fmla="*/ 5261 w 10000"/>
              <a:gd name="connsiteY40" fmla="*/ 6146 h 10000"/>
              <a:gd name="connsiteX41" fmla="*/ 5261 w 10000"/>
              <a:gd name="connsiteY41" fmla="*/ 6146 h 10000"/>
              <a:gd name="connsiteX42" fmla="*/ 5266 w 10000"/>
              <a:gd name="connsiteY42" fmla="*/ 6040 h 10000"/>
              <a:gd name="connsiteX43" fmla="*/ 5257 w 10000"/>
              <a:gd name="connsiteY43" fmla="*/ 5933 h 10000"/>
              <a:gd name="connsiteX44" fmla="*/ 5243 w 10000"/>
              <a:gd name="connsiteY44" fmla="*/ 5831 h 10000"/>
              <a:gd name="connsiteX45" fmla="*/ 5221 w 10000"/>
              <a:gd name="connsiteY45" fmla="*/ 5730 h 10000"/>
              <a:gd name="connsiteX46" fmla="*/ 5189 w 10000"/>
              <a:gd name="connsiteY46" fmla="*/ 5632 h 10000"/>
              <a:gd name="connsiteX47" fmla="*/ 5149 w 10000"/>
              <a:gd name="connsiteY47" fmla="*/ 5535 h 10000"/>
              <a:gd name="connsiteX48" fmla="*/ 5099 w 10000"/>
              <a:gd name="connsiteY48" fmla="*/ 5442 h 10000"/>
              <a:gd name="connsiteX49" fmla="*/ 5045 w 10000"/>
              <a:gd name="connsiteY49" fmla="*/ 5350 h 10000"/>
              <a:gd name="connsiteX50" fmla="*/ 5045 w 10000"/>
              <a:gd name="connsiteY50" fmla="*/ 5350 h 10000"/>
              <a:gd name="connsiteX51" fmla="*/ 4986 w 10000"/>
              <a:gd name="connsiteY51" fmla="*/ 5266 h 10000"/>
              <a:gd name="connsiteX52" fmla="*/ 4923 w 10000"/>
              <a:gd name="connsiteY52" fmla="*/ 5183 h 10000"/>
              <a:gd name="connsiteX53" fmla="*/ 4856 w 10000"/>
              <a:gd name="connsiteY53" fmla="*/ 5109 h 10000"/>
              <a:gd name="connsiteX54" fmla="*/ 4784 w 10000"/>
              <a:gd name="connsiteY54" fmla="*/ 5035 h 10000"/>
              <a:gd name="connsiteX55" fmla="*/ 4707 w 10000"/>
              <a:gd name="connsiteY55" fmla="*/ 4965 h 10000"/>
              <a:gd name="connsiteX56" fmla="*/ 4631 w 10000"/>
              <a:gd name="connsiteY56" fmla="*/ 4900 h 10000"/>
              <a:gd name="connsiteX57" fmla="*/ 4550 w 10000"/>
              <a:gd name="connsiteY57" fmla="*/ 4836 h 10000"/>
              <a:gd name="connsiteX58" fmla="*/ 4469 w 10000"/>
              <a:gd name="connsiteY58" fmla="*/ 4775 h 10000"/>
              <a:gd name="connsiteX59" fmla="*/ 4469 w 10000"/>
              <a:gd name="connsiteY59" fmla="*/ 4775 h 10000"/>
              <a:gd name="connsiteX60" fmla="*/ 4347 w 10000"/>
              <a:gd name="connsiteY60" fmla="*/ 4687 h 10000"/>
              <a:gd name="connsiteX61" fmla="*/ 4226 w 10000"/>
              <a:gd name="connsiteY61" fmla="*/ 4609 h 10000"/>
              <a:gd name="connsiteX62" fmla="*/ 4104 w 10000"/>
              <a:gd name="connsiteY62" fmla="*/ 4530 h 10000"/>
              <a:gd name="connsiteX63" fmla="*/ 3978 w 10000"/>
              <a:gd name="connsiteY63" fmla="*/ 4456 h 10000"/>
              <a:gd name="connsiteX64" fmla="*/ 3852 w 10000"/>
              <a:gd name="connsiteY64" fmla="*/ 4386 h 10000"/>
              <a:gd name="connsiteX65" fmla="*/ 3722 w 10000"/>
              <a:gd name="connsiteY65" fmla="*/ 4317 h 10000"/>
              <a:gd name="connsiteX66" fmla="*/ 3591 w 10000"/>
              <a:gd name="connsiteY66" fmla="*/ 4252 h 10000"/>
              <a:gd name="connsiteX67" fmla="*/ 3461 w 10000"/>
              <a:gd name="connsiteY67" fmla="*/ 4187 h 10000"/>
              <a:gd name="connsiteX68" fmla="*/ 3461 w 10000"/>
              <a:gd name="connsiteY68" fmla="*/ 4187 h 10000"/>
              <a:gd name="connsiteX69" fmla="*/ 3029 w 10000"/>
              <a:gd name="connsiteY69" fmla="*/ 3993 h 10000"/>
              <a:gd name="connsiteX70" fmla="*/ 2601 w 10000"/>
              <a:gd name="connsiteY70" fmla="*/ 3798 h 10000"/>
              <a:gd name="connsiteX71" fmla="*/ 1742 w 10000"/>
              <a:gd name="connsiteY71" fmla="*/ 3414 h 10000"/>
              <a:gd name="connsiteX72" fmla="*/ 1742 w 10000"/>
              <a:gd name="connsiteY72" fmla="*/ 3414 h 10000"/>
              <a:gd name="connsiteX73" fmla="*/ 1598 w 10000"/>
              <a:gd name="connsiteY73" fmla="*/ 3349 h 10000"/>
              <a:gd name="connsiteX74" fmla="*/ 1454 w 10000"/>
              <a:gd name="connsiteY74" fmla="*/ 3279 h 10000"/>
              <a:gd name="connsiteX75" fmla="*/ 1314 w 10000"/>
              <a:gd name="connsiteY75" fmla="*/ 3205 h 10000"/>
              <a:gd name="connsiteX76" fmla="*/ 1179 w 10000"/>
              <a:gd name="connsiteY76" fmla="*/ 3126 h 10000"/>
              <a:gd name="connsiteX77" fmla="*/ 1049 w 10000"/>
              <a:gd name="connsiteY77" fmla="*/ 3038 h 10000"/>
              <a:gd name="connsiteX78" fmla="*/ 923 w 10000"/>
              <a:gd name="connsiteY78" fmla="*/ 2946 h 10000"/>
              <a:gd name="connsiteX79" fmla="*/ 797 w 10000"/>
              <a:gd name="connsiteY79" fmla="*/ 2849 h 10000"/>
              <a:gd name="connsiteX80" fmla="*/ 680 w 10000"/>
              <a:gd name="connsiteY80" fmla="*/ 2742 h 10000"/>
              <a:gd name="connsiteX81" fmla="*/ 680 w 10000"/>
              <a:gd name="connsiteY81" fmla="*/ 2742 h 10000"/>
              <a:gd name="connsiteX82" fmla="*/ 590 w 10000"/>
              <a:gd name="connsiteY82" fmla="*/ 2649 h 10000"/>
              <a:gd name="connsiteX83" fmla="*/ 504 w 10000"/>
              <a:gd name="connsiteY83" fmla="*/ 2557 h 10000"/>
              <a:gd name="connsiteX84" fmla="*/ 423 w 10000"/>
              <a:gd name="connsiteY84" fmla="*/ 2459 h 10000"/>
              <a:gd name="connsiteX85" fmla="*/ 356 w 10000"/>
              <a:gd name="connsiteY85" fmla="*/ 2362 h 10000"/>
              <a:gd name="connsiteX86" fmla="*/ 288 w 10000"/>
              <a:gd name="connsiteY86" fmla="*/ 2260 h 10000"/>
              <a:gd name="connsiteX87" fmla="*/ 230 w 10000"/>
              <a:gd name="connsiteY87" fmla="*/ 2154 h 10000"/>
              <a:gd name="connsiteX88" fmla="*/ 180 w 10000"/>
              <a:gd name="connsiteY88" fmla="*/ 2047 h 10000"/>
              <a:gd name="connsiteX89" fmla="*/ 131 w 10000"/>
              <a:gd name="connsiteY89" fmla="*/ 1941 h 10000"/>
              <a:gd name="connsiteX90" fmla="*/ 95 w 10000"/>
              <a:gd name="connsiteY90" fmla="*/ 1830 h 10000"/>
              <a:gd name="connsiteX91" fmla="*/ 63 w 10000"/>
              <a:gd name="connsiteY91" fmla="*/ 1714 h 10000"/>
              <a:gd name="connsiteX92" fmla="*/ 36 w 10000"/>
              <a:gd name="connsiteY92" fmla="*/ 1593 h 10000"/>
              <a:gd name="connsiteX93" fmla="*/ 18 w 10000"/>
              <a:gd name="connsiteY93" fmla="*/ 1473 h 10000"/>
              <a:gd name="connsiteX94" fmla="*/ 5 w 10000"/>
              <a:gd name="connsiteY94" fmla="*/ 1352 h 10000"/>
              <a:gd name="connsiteX95" fmla="*/ 0 w 10000"/>
              <a:gd name="connsiteY95" fmla="*/ 1227 h 10000"/>
              <a:gd name="connsiteX96" fmla="*/ 0 w 10000"/>
              <a:gd name="connsiteY96" fmla="*/ 1098 h 10000"/>
              <a:gd name="connsiteX97" fmla="*/ 9 w 10000"/>
              <a:gd name="connsiteY97" fmla="*/ 968 h 10000"/>
              <a:gd name="connsiteX98" fmla="*/ 9 w 10000"/>
              <a:gd name="connsiteY98" fmla="*/ 968 h 10000"/>
              <a:gd name="connsiteX99" fmla="*/ 23 w 10000"/>
              <a:gd name="connsiteY99" fmla="*/ 848 h 10000"/>
              <a:gd name="connsiteX100" fmla="*/ 41 w 10000"/>
              <a:gd name="connsiteY100" fmla="*/ 727 h 10000"/>
              <a:gd name="connsiteX101" fmla="*/ 68 w 10000"/>
              <a:gd name="connsiteY101" fmla="*/ 607 h 10000"/>
              <a:gd name="connsiteX102" fmla="*/ 95 w 10000"/>
              <a:gd name="connsiteY102" fmla="*/ 491 h 10000"/>
              <a:gd name="connsiteX103" fmla="*/ 131 w 10000"/>
              <a:gd name="connsiteY103" fmla="*/ 375 h 10000"/>
              <a:gd name="connsiteX104" fmla="*/ 171 w 10000"/>
              <a:gd name="connsiteY104" fmla="*/ 259 h 10000"/>
              <a:gd name="connsiteX105" fmla="*/ 212 w 10000"/>
              <a:gd name="connsiteY105" fmla="*/ 148 h 10000"/>
              <a:gd name="connsiteX106" fmla="*/ 266 w 10000"/>
              <a:gd name="connsiteY106" fmla="*/ 37 h 10000"/>
              <a:gd name="connsiteX107" fmla="*/ 266 w 10000"/>
              <a:gd name="connsiteY107" fmla="*/ 37 h 10000"/>
              <a:gd name="connsiteX108" fmla="*/ 275 w 10000"/>
              <a:gd name="connsiteY108" fmla="*/ 0 h 10000"/>
              <a:gd name="connsiteX109" fmla="*/ 275 w 10000"/>
              <a:gd name="connsiteY109" fmla="*/ 0 h 10000"/>
              <a:gd name="connsiteX0" fmla="*/ 275 w 10000"/>
              <a:gd name="connsiteY0" fmla="*/ 250 h 10250"/>
              <a:gd name="connsiteX1" fmla="*/ 275 w 10000"/>
              <a:gd name="connsiteY1" fmla="*/ 250 h 10250"/>
              <a:gd name="connsiteX2" fmla="*/ 10000 w 10000"/>
              <a:gd name="connsiteY2" fmla="*/ 250 h 10250"/>
              <a:gd name="connsiteX3" fmla="*/ 9594 w 10000"/>
              <a:gd name="connsiteY3" fmla="*/ 0 h 10250"/>
              <a:gd name="connsiteX4" fmla="*/ 10000 w 10000"/>
              <a:gd name="connsiteY4" fmla="*/ 324 h 10250"/>
              <a:gd name="connsiteX5" fmla="*/ 10000 w 10000"/>
              <a:gd name="connsiteY5" fmla="*/ 324 h 10250"/>
              <a:gd name="connsiteX6" fmla="*/ 10000 w 10000"/>
              <a:gd name="connsiteY6" fmla="*/ 10143 h 10250"/>
              <a:gd name="connsiteX7" fmla="*/ 10000 w 10000"/>
              <a:gd name="connsiteY7" fmla="*/ 10143 h 10250"/>
              <a:gd name="connsiteX8" fmla="*/ 10000 w 10000"/>
              <a:gd name="connsiteY8" fmla="*/ 10190 h 10250"/>
              <a:gd name="connsiteX9" fmla="*/ 10000 w 10000"/>
              <a:gd name="connsiteY9" fmla="*/ 10190 h 10250"/>
              <a:gd name="connsiteX10" fmla="*/ 10000 w 10000"/>
              <a:gd name="connsiteY10" fmla="*/ 10208 h 10250"/>
              <a:gd name="connsiteX11" fmla="*/ 9991 w 10000"/>
              <a:gd name="connsiteY11" fmla="*/ 10222 h 10250"/>
              <a:gd name="connsiteX12" fmla="*/ 9982 w 10000"/>
              <a:gd name="connsiteY12" fmla="*/ 10231 h 10250"/>
              <a:gd name="connsiteX13" fmla="*/ 9959 w 10000"/>
              <a:gd name="connsiteY13" fmla="*/ 10241 h 10250"/>
              <a:gd name="connsiteX14" fmla="*/ 9959 w 10000"/>
              <a:gd name="connsiteY14" fmla="*/ 10241 h 10250"/>
              <a:gd name="connsiteX15" fmla="*/ 9905 w 10000"/>
              <a:gd name="connsiteY15" fmla="*/ 10245 h 10250"/>
              <a:gd name="connsiteX16" fmla="*/ 9847 w 10000"/>
              <a:gd name="connsiteY16" fmla="*/ 10250 h 10250"/>
              <a:gd name="connsiteX17" fmla="*/ 9734 w 10000"/>
              <a:gd name="connsiteY17" fmla="*/ 10250 h 10250"/>
              <a:gd name="connsiteX18" fmla="*/ 7052 w 10000"/>
              <a:gd name="connsiteY18" fmla="*/ 9152 h 10250"/>
              <a:gd name="connsiteX19" fmla="*/ 6805 w 10000"/>
              <a:gd name="connsiteY19" fmla="*/ 8986 h 10250"/>
              <a:gd name="connsiteX20" fmla="*/ 6562 w 10000"/>
              <a:gd name="connsiteY20" fmla="*/ 8814 h 10250"/>
              <a:gd name="connsiteX21" fmla="*/ 6319 w 10000"/>
              <a:gd name="connsiteY21" fmla="*/ 8638 h 10250"/>
              <a:gd name="connsiteX22" fmla="*/ 6085 w 10000"/>
              <a:gd name="connsiteY22" fmla="*/ 8458 h 10250"/>
              <a:gd name="connsiteX23" fmla="*/ 5851 w 10000"/>
              <a:gd name="connsiteY23" fmla="*/ 8272 h 10250"/>
              <a:gd name="connsiteX24" fmla="*/ 5621 w 10000"/>
              <a:gd name="connsiteY24" fmla="*/ 8082 h 10250"/>
              <a:gd name="connsiteX25" fmla="*/ 5392 w 10000"/>
              <a:gd name="connsiteY25" fmla="*/ 7892 h 10250"/>
              <a:gd name="connsiteX26" fmla="*/ 5167 w 10000"/>
              <a:gd name="connsiteY26" fmla="*/ 7693 h 10250"/>
              <a:gd name="connsiteX27" fmla="*/ 5167 w 10000"/>
              <a:gd name="connsiteY27" fmla="*/ 7693 h 10250"/>
              <a:gd name="connsiteX28" fmla="*/ 4905 w 10000"/>
              <a:gd name="connsiteY28" fmla="*/ 7466 h 10250"/>
              <a:gd name="connsiteX29" fmla="*/ 4905 w 10000"/>
              <a:gd name="connsiteY29" fmla="*/ 7466 h 10250"/>
              <a:gd name="connsiteX30" fmla="*/ 4995 w 10000"/>
              <a:gd name="connsiteY30" fmla="*/ 7290 h 10250"/>
              <a:gd name="connsiteX31" fmla="*/ 5077 w 10000"/>
              <a:gd name="connsiteY31" fmla="*/ 7114 h 10250"/>
              <a:gd name="connsiteX32" fmla="*/ 5077 w 10000"/>
              <a:gd name="connsiteY32" fmla="*/ 7114 h 10250"/>
              <a:gd name="connsiteX33" fmla="*/ 5113 w 10000"/>
              <a:gd name="connsiteY33" fmla="*/ 7031 h 10250"/>
              <a:gd name="connsiteX34" fmla="*/ 5144 w 10000"/>
              <a:gd name="connsiteY34" fmla="*/ 6943 h 10250"/>
              <a:gd name="connsiteX35" fmla="*/ 5176 w 10000"/>
              <a:gd name="connsiteY35" fmla="*/ 6855 h 10250"/>
              <a:gd name="connsiteX36" fmla="*/ 5203 w 10000"/>
              <a:gd name="connsiteY36" fmla="*/ 6767 h 10250"/>
              <a:gd name="connsiteX37" fmla="*/ 5225 w 10000"/>
              <a:gd name="connsiteY37" fmla="*/ 6674 h 10250"/>
              <a:gd name="connsiteX38" fmla="*/ 5243 w 10000"/>
              <a:gd name="connsiteY38" fmla="*/ 6586 h 10250"/>
              <a:gd name="connsiteX39" fmla="*/ 5252 w 10000"/>
              <a:gd name="connsiteY39" fmla="*/ 6494 h 10250"/>
              <a:gd name="connsiteX40" fmla="*/ 5261 w 10000"/>
              <a:gd name="connsiteY40" fmla="*/ 6396 h 10250"/>
              <a:gd name="connsiteX41" fmla="*/ 5261 w 10000"/>
              <a:gd name="connsiteY41" fmla="*/ 6396 h 10250"/>
              <a:gd name="connsiteX42" fmla="*/ 5266 w 10000"/>
              <a:gd name="connsiteY42" fmla="*/ 6290 h 10250"/>
              <a:gd name="connsiteX43" fmla="*/ 5257 w 10000"/>
              <a:gd name="connsiteY43" fmla="*/ 6183 h 10250"/>
              <a:gd name="connsiteX44" fmla="*/ 5243 w 10000"/>
              <a:gd name="connsiteY44" fmla="*/ 6081 h 10250"/>
              <a:gd name="connsiteX45" fmla="*/ 5221 w 10000"/>
              <a:gd name="connsiteY45" fmla="*/ 5980 h 10250"/>
              <a:gd name="connsiteX46" fmla="*/ 5189 w 10000"/>
              <a:gd name="connsiteY46" fmla="*/ 5882 h 10250"/>
              <a:gd name="connsiteX47" fmla="*/ 5149 w 10000"/>
              <a:gd name="connsiteY47" fmla="*/ 5785 h 10250"/>
              <a:gd name="connsiteX48" fmla="*/ 5099 w 10000"/>
              <a:gd name="connsiteY48" fmla="*/ 5692 h 10250"/>
              <a:gd name="connsiteX49" fmla="*/ 5045 w 10000"/>
              <a:gd name="connsiteY49" fmla="*/ 5600 h 10250"/>
              <a:gd name="connsiteX50" fmla="*/ 5045 w 10000"/>
              <a:gd name="connsiteY50" fmla="*/ 5600 h 10250"/>
              <a:gd name="connsiteX51" fmla="*/ 4986 w 10000"/>
              <a:gd name="connsiteY51" fmla="*/ 5516 h 10250"/>
              <a:gd name="connsiteX52" fmla="*/ 4923 w 10000"/>
              <a:gd name="connsiteY52" fmla="*/ 5433 h 10250"/>
              <a:gd name="connsiteX53" fmla="*/ 4856 w 10000"/>
              <a:gd name="connsiteY53" fmla="*/ 5359 h 10250"/>
              <a:gd name="connsiteX54" fmla="*/ 4784 w 10000"/>
              <a:gd name="connsiteY54" fmla="*/ 5285 h 10250"/>
              <a:gd name="connsiteX55" fmla="*/ 4707 w 10000"/>
              <a:gd name="connsiteY55" fmla="*/ 5215 h 10250"/>
              <a:gd name="connsiteX56" fmla="*/ 4631 w 10000"/>
              <a:gd name="connsiteY56" fmla="*/ 5150 h 10250"/>
              <a:gd name="connsiteX57" fmla="*/ 4550 w 10000"/>
              <a:gd name="connsiteY57" fmla="*/ 5086 h 10250"/>
              <a:gd name="connsiteX58" fmla="*/ 4469 w 10000"/>
              <a:gd name="connsiteY58" fmla="*/ 5025 h 10250"/>
              <a:gd name="connsiteX59" fmla="*/ 4469 w 10000"/>
              <a:gd name="connsiteY59" fmla="*/ 5025 h 10250"/>
              <a:gd name="connsiteX60" fmla="*/ 4347 w 10000"/>
              <a:gd name="connsiteY60" fmla="*/ 4937 h 10250"/>
              <a:gd name="connsiteX61" fmla="*/ 4226 w 10000"/>
              <a:gd name="connsiteY61" fmla="*/ 4859 h 10250"/>
              <a:gd name="connsiteX62" fmla="*/ 4104 w 10000"/>
              <a:gd name="connsiteY62" fmla="*/ 4780 h 10250"/>
              <a:gd name="connsiteX63" fmla="*/ 3978 w 10000"/>
              <a:gd name="connsiteY63" fmla="*/ 4706 h 10250"/>
              <a:gd name="connsiteX64" fmla="*/ 3852 w 10000"/>
              <a:gd name="connsiteY64" fmla="*/ 4636 h 10250"/>
              <a:gd name="connsiteX65" fmla="*/ 3722 w 10000"/>
              <a:gd name="connsiteY65" fmla="*/ 4567 h 10250"/>
              <a:gd name="connsiteX66" fmla="*/ 3591 w 10000"/>
              <a:gd name="connsiteY66" fmla="*/ 4502 h 10250"/>
              <a:gd name="connsiteX67" fmla="*/ 3461 w 10000"/>
              <a:gd name="connsiteY67" fmla="*/ 4437 h 10250"/>
              <a:gd name="connsiteX68" fmla="*/ 3461 w 10000"/>
              <a:gd name="connsiteY68" fmla="*/ 4437 h 10250"/>
              <a:gd name="connsiteX69" fmla="*/ 3029 w 10000"/>
              <a:gd name="connsiteY69" fmla="*/ 4243 h 10250"/>
              <a:gd name="connsiteX70" fmla="*/ 2601 w 10000"/>
              <a:gd name="connsiteY70" fmla="*/ 4048 h 10250"/>
              <a:gd name="connsiteX71" fmla="*/ 1742 w 10000"/>
              <a:gd name="connsiteY71" fmla="*/ 3664 h 10250"/>
              <a:gd name="connsiteX72" fmla="*/ 1742 w 10000"/>
              <a:gd name="connsiteY72" fmla="*/ 3664 h 10250"/>
              <a:gd name="connsiteX73" fmla="*/ 1598 w 10000"/>
              <a:gd name="connsiteY73" fmla="*/ 3599 h 10250"/>
              <a:gd name="connsiteX74" fmla="*/ 1454 w 10000"/>
              <a:gd name="connsiteY74" fmla="*/ 3529 h 10250"/>
              <a:gd name="connsiteX75" fmla="*/ 1314 w 10000"/>
              <a:gd name="connsiteY75" fmla="*/ 3455 h 10250"/>
              <a:gd name="connsiteX76" fmla="*/ 1179 w 10000"/>
              <a:gd name="connsiteY76" fmla="*/ 3376 h 10250"/>
              <a:gd name="connsiteX77" fmla="*/ 1049 w 10000"/>
              <a:gd name="connsiteY77" fmla="*/ 3288 h 10250"/>
              <a:gd name="connsiteX78" fmla="*/ 923 w 10000"/>
              <a:gd name="connsiteY78" fmla="*/ 3196 h 10250"/>
              <a:gd name="connsiteX79" fmla="*/ 797 w 10000"/>
              <a:gd name="connsiteY79" fmla="*/ 3099 h 10250"/>
              <a:gd name="connsiteX80" fmla="*/ 680 w 10000"/>
              <a:gd name="connsiteY80" fmla="*/ 2992 h 10250"/>
              <a:gd name="connsiteX81" fmla="*/ 680 w 10000"/>
              <a:gd name="connsiteY81" fmla="*/ 2992 h 10250"/>
              <a:gd name="connsiteX82" fmla="*/ 590 w 10000"/>
              <a:gd name="connsiteY82" fmla="*/ 2899 h 10250"/>
              <a:gd name="connsiteX83" fmla="*/ 504 w 10000"/>
              <a:gd name="connsiteY83" fmla="*/ 2807 h 10250"/>
              <a:gd name="connsiteX84" fmla="*/ 423 w 10000"/>
              <a:gd name="connsiteY84" fmla="*/ 2709 h 10250"/>
              <a:gd name="connsiteX85" fmla="*/ 356 w 10000"/>
              <a:gd name="connsiteY85" fmla="*/ 2612 h 10250"/>
              <a:gd name="connsiteX86" fmla="*/ 288 w 10000"/>
              <a:gd name="connsiteY86" fmla="*/ 2510 h 10250"/>
              <a:gd name="connsiteX87" fmla="*/ 230 w 10000"/>
              <a:gd name="connsiteY87" fmla="*/ 2404 h 10250"/>
              <a:gd name="connsiteX88" fmla="*/ 180 w 10000"/>
              <a:gd name="connsiteY88" fmla="*/ 2297 h 10250"/>
              <a:gd name="connsiteX89" fmla="*/ 131 w 10000"/>
              <a:gd name="connsiteY89" fmla="*/ 2191 h 10250"/>
              <a:gd name="connsiteX90" fmla="*/ 95 w 10000"/>
              <a:gd name="connsiteY90" fmla="*/ 2080 h 10250"/>
              <a:gd name="connsiteX91" fmla="*/ 63 w 10000"/>
              <a:gd name="connsiteY91" fmla="*/ 1964 h 10250"/>
              <a:gd name="connsiteX92" fmla="*/ 36 w 10000"/>
              <a:gd name="connsiteY92" fmla="*/ 1843 h 10250"/>
              <a:gd name="connsiteX93" fmla="*/ 18 w 10000"/>
              <a:gd name="connsiteY93" fmla="*/ 1723 h 10250"/>
              <a:gd name="connsiteX94" fmla="*/ 5 w 10000"/>
              <a:gd name="connsiteY94" fmla="*/ 1602 h 10250"/>
              <a:gd name="connsiteX95" fmla="*/ 0 w 10000"/>
              <a:gd name="connsiteY95" fmla="*/ 1477 h 10250"/>
              <a:gd name="connsiteX96" fmla="*/ 0 w 10000"/>
              <a:gd name="connsiteY96" fmla="*/ 1348 h 10250"/>
              <a:gd name="connsiteX97" fmla="*/ 9 w 10000"/>
              <a:gd name="connsiteY97" fmla="*/ 1218 h 10250"/>
              <a:gd name="connsiteX98" fmla="*/ 9 w 10000"/>
              <a:gd name="connsiteY98" fmla="*/ 1218 h 10250"/>
              <a:gd name="connsiteX99" fmla="*/ 23 w 10000"/>
              <a:gd name="connsiteY99" fmla="*/ 1098 h 10250"/>
              <a:gd name="connsiteX100" fmla="*/ 41 w 10000"/>
              <a:gd name="connsiteY100" fmla="*/ 977 h 10250"/>
              <a:gd name="connsiteX101" fmla="*/ 68 w 10000"/>
              <a:gd name="connsiteY101" fmla="*/ 857 h 10250"/>
              <a:gd name="connsiteX102" fmla="*/ 95 w 10000"/>
              <a:gd name="connsiteY102" fmla="*/ 741 h 10250"/>
              <a:gd name="connsiteX103" fmla="*/ 131 w 10000"/>
              <a:gd name="connsiteY103" fmla="*/ 625 h 10250"/>
              <a:gd name="connsiteX104" fmla="*/ 171 w 10000"/>
              <a:gd name="connsiteY104" fmla="*/ 509 h 10250"/>
              <a:gd name="connsiteX105" fmla="*/ 212 w 10000"/>
              <a:gd name="connsiteY105" fmla="*/ 398 h 10250"/>
              <a:gd name="connsiteX106" fmla="*/ 266 w 10000"/>
              <a:gd name="connsiteY106" fmla="*/ 287 h 10250"/>
              <a:gd name="connsiteX107" fmla="*/ 266 w 10000"/>
              <a:gd name="connsiteY107" fmla="*/ 287 h 10250"/>
              <a:gd name="connsiteX108" fmla="*/ 275 w 10000"/>
              <a:gd name="connsiteY108" fmla="*/ 250 h 10250"/>
              <a:gd name="connsiteX109" fmla="*/ 275 w 10000"/>
              <a:gd name="connsiteY109" fmla="*/ 250 h 10250"/>
              <a:gd name="connsiteX0" fmla="*/ 275 w 10487"/>
              <a:gd name="connsiteY0" fmla="*/ 250 h 10250"/>
              <a:gd name="connsiteX1" fmla="*/ 275 w 10487"/>
              <a:gd name="connsiteY1" fmla="*/ 250 h 10250"/>
              <a:gd name="connsiteX2" fmla="*/ 10000 w 10487"/>
              <a:gd name="connsiteY2" fmla="*/ 250 h 10250"/>
              <a:gd name="connsiteX3" fmla="*/ 9594 w 10487"/>
              <a:gd name="connsiteY3" fmla="*/ 0 h 10250"/>
              <a:gd name="connsiteX4" fmla="*/ 10000 w 10487"/>
              <a:gd name="connsiteY4" fmla="*/ 324 h 10250"/>
              <a:gd name="connsiteX5" fmla="*/ 10000 w 10487"/>
              <a:gd name="connsiteY5" fmla="*/ 324 h 10250"/>
              <a:gd name="connsiteX6" fmla="*/ 10000 w 10487"/>
              <a:gd name="connsiteY6" fmla="*/ 10143 h 10250"/>
              <a:gd name="connsiteX7" fmla="*/ 10000 w 10487"/>
              <a:gd name="connsiteY7" fmla="*/ 10143 h 10250"/>
              <a:gd name="connsiteX8" fmla="*/ 10000 w 10487"/>
              <a:gd name="connsiteY8" fmla="*/ 10190 h 10250"/>
              <a:gd name="connsiteX9" fmla="*/ 10000 w 10487"/>
              <a:gd name="connsiteY9" fmla="*/ 10190 h 10250"/>
              <a:gd name="connsiteX10" fmla="*/ 10000 w 10487"/>
              <a:gd name="connsiteY10" fmla="*/ 10208 h 10250"/>
              <a:gd name="connsiteX11" fmla="*/ 9991 w 10487"/>
              <a:gd name="connsiteY11" fmla="*/ 10222 h 10250"/>
              <a:gd name="connsiteX12" fmla="*/ 9982 w 10487"/>
              <a:gd name="connsiteY12" fmla="*/ 10231 h 10250"/>
              <a:gd name="connsiteX13" fmla="*/ 9959 w 10487"/>
              <a:gd name="connsiteY13" fmla="*/ 10241 h 10250"/>
              <a:gd name="connsiteX14" fmla="*/ 9959 w 10487"/>
              <a:gd name="connsiteY14" fmla="*/ 10241 h 10250"/>
              <a:gd name="connsiteX15" fmla="*/ 9905 w 10487"/>
              <a:gd name="connsiteY15" fmla="*/ 10245 h 10250"/>
              <a:gd name="connsiteX16" fmla="*/ 9847 w 10487"/>
              <a:gd name="connsiteY16" fmla="*/ 10250 h 10250"/>
              <a:gd name="connsiteX17" fmla="*/ 9734 w 10487"/>
              <a:gd name="connsiteY17" fmla="*/ 10250 h 10250"/>
              <a:gd name="connsiteX18" fmla="*/ 7052 w 10487"/>
              <a:gd name="connsiteY18" fmla="*/ 9152 h 10250"/>
              <a:gd name="connsiteX19" fmla="*/ 6805 w 10487"/>
              <a:gd name="connsiteY19" fmla="*/ 8986 h 10250"/>
              <a:gd name="connsiteX20" fmla="*/ 6562 w 10487"/>
              <a:gd name="connsiteY20" fmla="*/ 8814 h 10250"/>
              <a:gd name="connsiteX21" fmla="*/ 6319 w 10487"/>
              <a:gd name="connsiteY21" fmla="*/ 8638 h 10250"/>
              <a:gd name="connsiteX22" fmla="*/ 6085 w 10487"/>
              <a:gd name="connsiteY22" fmla="*/ 8458 h 10250"/>
              <a:gd name="connsiteX23" fmla="*/ 5851 w 10487"/>
              <a:gd name="connsiteY23" fmla="*/ 8272 h 10250"/>
              <a:gd name="connsiteX24" fmla="*/ 5621 w 10487"/>
              <a:gd name="connsiteY24" fmla="*/ 8082 h 10250"/>
              <a:gd name="connsiteX25" fmla="*/ 5392 w 10487"/>
              <a:gd name="connsiteY25" fmla="*/ 7892 h 10250"/>
              <a:gd name="connsiteX26" fmla="*/ 5167 w 10487"/>
              <a:gd name="connsiteY26" fmla="*/ 7693 h 10250"/>
              <a:gd name="connsiteX27" fmla="*/ 5167 w 10487"/>
              <a:gd name="connsiteY27" fmla="*/ 7693 h 10250"/>
              <a:gd name="connsiteX28" fmla="*/ 4905 w 10487"/>
              <a:gd name="connsiteY28" fmla="*/ 7466 h 10250"/>
              <a:gd name="connsiteX29" fmla="*/ 4905 w 10487"/>
              <a:gd name="connsiteY29" fmla="*/ 7466 h 10250"/>
              <a:gd name="connsiteX30" fmla="*/ 4995 w 10487"/>
              <a:gd name="connsiteY30" fmla="*/ 7290 h 10250"/>
              <a:gd name="connsiteX31" fmla="*/ 5077 w 10487"/>
              <a:gd name="connsiteY31" fmla="*/ 7114 h 10250"/>
              <a:gd name="connsiteX32" fmla="*/ 5077 w 10487"/>
              <a:gd name="connsiteY32" fmla="*/ 7114 h 10250"/>
              <a:gd name="connsiteX33" fmla="*/ 5113 w 10487"/>
              <a:gd name="connsiteY33" fmla="*/ 7031 h 10250"/>
              <a:gd name="connsiteX34" fmla="*/ 5144 w 10487"/>
              <a:gd name="connsiteY34" fmla="*/ 6943 h 10250"/>
              <a:gd name="connsiteX35" fmla="*/ 5176 w 10487"/>
              <a:gd name="connsiteY35" fmla="*/ 6855 h 10250"/>
              <a:gd name="connsiteX36" fmla="*/ 5203 w 10487"/>
              <a:gd name="connsiteY36" fmla="*/ 6767 h 10250"/>
              <a:gd name="connsiteX37" fmla="*/ 5225 w 10487"/>
              <a:gd name="connsiteY37" fmla="*/ 6674 h 10250"/>
              <a:gd name="connsiteX38" fmla="*/ 5243 w 10487"/>
              <a:gd name="connsiteY38" fmla="*/ 6586 h 10250"/>
              <a:gd name="connsiteX39" fmla="*/ 5252 w 10487"/>
              <a:gd name="connsiteY39" fmla="*/ 6494 h 10250"/>
              <a:gd name="connsiteX40" fmla="*/ 5261 w 10487"/>
              <a:gd name="connsiteY40" fmla="*/ 6396 h 10250"/>
              <a:gd name="connsiteX41" fmla="*/ 5261 w 10487"/>
              <a:gd name="connsiteY41" fmla="*/ 6396 h 10250"/>
              <a:gd name="connsiteX42" fmla="*/ 5266 w 10487"/>
              <a:gd name="connsiteY42" fmla="*/ 6290 h 10250"/>
              <a:gd name="connsiteX43" fmla="*/ 5257 w 10487"/>
              <a:gd name="connsiteY43" fmla="*/ 6183 h 10250"/>
              <a:gd name="connsiteX44" fmla="*/ 5243 w 10487"/>
              <a:gd name="connsiteY44" fmla="*/ 6081 h 10250"/>
              <a:gd name="connsiteX45" fmla="*/ 5221 w 10487"/>
              <a:gd name="connsiteY45" fmla="*/ 5980 h 10250"/>
              <a:gd name="connsiteX46" fmla="*/ 5189 w 10487"/>
              <a:gd name="connsiteY46" fmla="*/ 5882 h 10250"/>
              <a:gd name="connsiteX47" fmla="*/ 5149 w 10487"/>
              <a:gd name="connsiteY47" fmla="*/ 5785 h 10250"/>
              <a:gd name="connsiteX48" fmla="*/ 5099 w 10487"/>
              <a:gd name="connsiteY48" fmla="*/ 5692 h 10250"/>
              <a:gd name="connsiteX49" fmla="*/ 5045 w 10487"/>
              <a:gd name="connsiteY49" fmla="*/ 5600 h 10250"/>
              <a:gd name="connsiteX50" fmla="*/ 5045 w 10487"/>
              <a:gd name="connsiteY50" fmla="*/ 5600 h 10250"/>
              <a:gd name="connsiteX51" fmla="*/ 4986 w 10487"/>
              <a:gd name="connsiteY51" fmla="*/ 5516 h 10250"/>
              <a:gd name="connsiteX52" fmla="*/ 4923 w 10487"/>
              <a:gd name="connsiteY52" fmla="*/ 5433 h 10250"/>
              <a:gd name="connsiteX53" fmla="*/ 4856 w 10487"/>
              <a:gd name="connsiteY53" fmla="*/ 5359 h 10250"/>
              <a:gd name="connsiteX54" fmla="*/ 4784 w 10487"/>
              <a:gd name="connsiteY54" fmla="*/ 5285 h 10250"/>
              <a:gd name="connsiteX55" fmla="*/ 4707 w 10487"/>
              <a:gd name="connsiteY55" fmla="*/ 5215 h 10250"/>
              <a:gd name="connsiteX56" fmla="*/ 4631 w 10487"/>
              <a:gd name="connsiteY56" fmla="*/ 5150 h 10250"/>
              <a:gd name="connsiteX57" fmla="*/ 4550 w 10487"/>
              <a:gd name="connsiteY57" fmla="*/ 5086 h 10250"/>
              <a:gd name="connsiteX58" fmla="*/ 4469 w 10487"/>
              <a:gd name="connsiteY58" fmla="*/ 5025 h 10250"/>
              <a:gd name="connsiteX59" fmla="*/ 4469 w 10487"/>
              <a:gd name="connsiteY59" fmla="*/ 5025 h 10250"/>
              <a:gd name="connsiteX60" fmla="*/ 4347 w 10487"/>
              <a:gd name="connsiteY60" fmla="*/ 4937 h 10250"/>
              <a:gd name="connsiteX61" fmla="*/ 4226 w 10487"/>
              <a:gd name="connsiteY61" fmla="*/ 4859 h 10250"/>
              <a:gd name="connsiteX62" fmla="*/ 4104 w 10487"/>
              <a:gd name="connsiteY62" fmla="*/ 4780 h 10250"/>
              <a:gd name="connsiteX63" fmla="*/ 3978 w 10487"/>
              <a:gd name="connsiteY63" fmla="*/ 4706 h 10250"/>
              <a:gd name="connsiteX64" fmla="*/ 3852 w 10487"/>
              <a:gd name="connsiteY64" fmla="*/ 4636 h 10250"/>
              <a:gd name="connsiteX65" fmla="*/ 3722 w 10487"/>
              <a:gd name="connsiteY65" fmla="*/ 4567 h 10250"/>
              <a:gd name="connsiteX66" fmla="*/ 3591 w 10487"/>
              <a:gd name="connsiteY66" fmla="*/ 4502 h 10250"/>
              <a:gd name="connsiteX67" fmla="*/ 3461 w 10487"/>
              <a:gd name="connsiteY67" fmla="*/ 4437 h 10250"/>
              <a:gd name="connsiteX68" fmla="*/ 3461 w 10487"/>
              <a:gd name="connsiteY68" fmla="*/ 4437 h 10250"/>
              <a:gd name="connsiteX69" fmla="*/ 3029 w 10487"/>
              <a:gd name="connsiteY69" fmla="*/ 4243 h 10250"/>
              <a:gd name="connsiteX70" fmla="*/ 2601 w 10487"/>
              <a:gd name="connsiteY70" fmla="*/ 4048 h 10250"/>
              <a:gd name="connsiteX71" fmla="*/ 1742 w 10487"/>
              <a:gd name="connsiteY71" fmla="*/ 3664 h 10250"/>
              <a:gd name="connsiteX72" fmla="*/ 1742 w 10487"/>
              <a:gd name="connsiteY72" fmla="*/ 3664 h 10250"/>
              <a:gd name="connsiteX73" fmla="*/ 1598 w 10487"/>
              <a:gd name="connsiteY73" fmla="*/ 3599 h 10250"/>
              <a:gd name="connsiteX74" fmla="*/ 1454 w 10487"/>
              <a:gd name="connsiteY74" fmla="*/ 3529 h 10250"/>
              <a:gd name="connsiteX75" fmla="*/ 1314 w 10487"/>
              <a:gd name="connsiteY75" fmla="*/ 3455 h 10250"/>
              <a:gd name="connsiteX76" fmla="*/ 1179 w 10487"/>
              <a:gd name="connsiteY76" fmla="*/ 3376 h 10250"/>
              <a:gd name="connsiteX77" fmla="*/ 1049 w 10487"/>
              <a:gd name="connsiteY77" fmla="*/ 3288 h 10250"/>
              <a:gd name="connsiteX78" fmla="*/ 923 w 10487"/>
              <a:gd name="connsiteY78" fmla="*/ 3196 h 10250"/>
              <a:gd name="connsiteX79" fmla="*/ 797 w 10487"/>
              <a:gd name="connsiteY79" fmla="*/ 3099 h 10250"/>
              <a:gd name="connsiteX80" fmla="*/ 680 w 10487"/>
              <a:gd name="connsiteY80" fmla="*/ 2992 h 10250"/>
              <a:gd name="connsiteX81" fmla="*/ 680 w 10487"/>
              <a:gd name="connsiteY81" fmla="*/ 2992 h 10250"/>
              <a:gd name="connsiteX82" fmla="*/ 590 w 10487"/>
              <a:gd name="connsiteY82" fmla="*/ 2899 h 10250"/>
              <a:gd name="connsiteX83" fmla="*/ 504 w 10487"/>
              <a:gd name="connsiteY83" fmla="*/ 2807 h 10250"/>
              <a:gd name="connsiteX84" fmla="*/ 423 w 10487"/>
              <a:gd name="connsiteY84" fmla="*/ 2709 h 10250"/>
              <a:gd name="connsiteX85" fmla="*/ 356 w 10487"/>
              <a:gd name="connsiteY85" fmla="*/ 2612 h 10250"/>
              <a:gd name="connsiteX86" fmla="*/ 288 w 10487"/>
              <a:gd name="connsiteY86" fmla="*/ 2510 h 10250"/>
              <a:gd name="connsiteX87" fmla="*/ 230 w 10487"/>
              <a:gd name="connsiteY87" fmla="*/ 2404 h 10250"/>
              <a:gd name="connsiteX88" fmla="*/ 180 w 10487"/>
              <a:gd name="connsiteY88" fmla="*/ 2297 h 10250"/>
              <a:gd name="connsiteX89" fmla="*/ 131 w 10487"/>
              <a:gd name="connsiteY89" fmla="*/ 2191 h 10250"/>
              <a:gd name="connsiteX90" fmla="*/ 95 w 10487"/>
              <a:gd name="connsiteY90" fmla="*/ 2080 h 10250"/>
              <a:gd name="connsiteX91" fmla="*/ 63 w 10487"/>
              <a:gd name="connsiteY91" fmla="*/ 1964 h 10250"/>
              <a:gd name="connsiteX92" fmla="*/ 36 w 10487"/>
              <a:gd name="connsiteY92" fmla="*/ 1843 h 10250"/>
              <a:gd name="connsiteX93" fmla="*/ 18 w 10487"/>
              <a:gd name="connsiteY93" fmla="*/ 1723 h 10250"/>
              <a:gd name="connsiteX94" fmla="*/ 5 w 10487"/>
              <a:gd name="connsiteY94" fmla="*/ 1602 h 10250"/>
              <a:gd name="connsiteX95" fmla="*/ 0 w 10487"/>
              <a:gd name="connsiteY95" fmla="*/ 1477 h 10250"/>
              <a:gd name="connsiteX96" fmla="*/ 0 w 10487"/>
              <a:gd name="connsiteY96" fmla="*/ 1348 h 10250"/>
              <a:gd name="connsiteX97" fmla="*/ 9 w 10487"/>
              <a:gd name="connsiteY97" fmla="*/ 1218 h 10250"/>
              <a:gd name="connsiteX98" fmla="*/ 9 w 10487"/>
              <a:gd name="connsiteY98" fmla="*/ 1218 h 10250"/>
              <a:gd name="connsiteX99" fmla="*/ 23 w 10487"/>
              <a:gd name="connsiteY99" fmla="*/ 1098 h 10250"/>
              <a:gd name="connsiteX100" fmla="*/ 41 w 10487"/>
              <a:gd name="connsiteY100" fmla="*/ 977 h 10250"/>
              <a:gd name="connsiteX101" fmla="*/ 68 w 10487"/>
              <a:gd name="connsiteY101" fmla="*/ 857 h 10250"/>
              <a:gd name="connsiteX102" fmla="*/ 95 w 10487"/>
              <a:gd name="connsiteY102" fmla="*/ 741 h 10250"/>
              <a:gd name="connsiteX103" fmla="*/ 131 w 10487"/>
              <a:gd name="connsiteY103" fmla="*/ 625 h 10250"/>
              <a:gd name="connsiteX104" fmla="*/ 171 w 10487"/>
              <a:gd name="connsiteY104" fmla="*/ 509 h 10250"/>
              <a:gd name="connsiteX105" fmla="*/ 212 w 10487"/>
              <a:gd name="connsiteY105" fmla="*/ 398 h 10250"/>
              <a:gd name="connsiteX106" fmla="*/ 266 w 10487"/>
              <a:gd name="connsiteY106" fmla="*/ 287 h 10250"/>
              <a:gd name="connsiteX107" fmla="*/ 266 w 10487"/>
              <a:gd name="connsiteY107" fmla="*/ 287 h 10250"/>
              <a:gd name="connsiteX108" fmla="*/ 275 w 10487"/>
              <a:gd name="connsiteY108" fmla="*/ 250 h 10250"/>
              <a:gd name="connsiteX109" fmla="*/ 275 w 10487"/>
              <a:gd name="connsiteY109" fmla="*/ 250 h 10250"/>
              <a:gd name="connsiteX0" fmla="*/ 275 w 11621"/>
              <a:gd name="connsiteY0" fmla="*/ 0 h 10000"/>
              <a:gd name="connsiteX1" fmla="*/ 275 w 11621"/>
              <a:gd name="connsiteY1" fmla="*/ 0 h 10000"/>
              <a:gd name="connsiteX2" fmla="*/ 10000 w 11621"/>
              <a:gd name="connsiteY2" fmla="*/ 0 h 10000"/>
              <a:gd name="connsiteX3" fmla="*/ 10000 w 11621"/>
              <a:gd name="connsiteY3" fmla="*/ 74 h 10000"/>
              <a:gd name="connsiteX4" fmla="*/ 10000 w 11621"/>
              <a:gd name="connsiteY4" fmla="*/ 74 h 10000"/>
              <a:gd name="connsiteX5" fmla="*/ 10000 w 11621"/>
              <a:gd name="connsiteY5" fmla="*/ 9893 h 10000"/>
              <a:gd name="connsiteX6" fmla="*/ 10000 w 11621"/>
              <a:gd name="connsiteY6" fmla="*/ 9893 h 10000"/>
              <a:gd name="connsiteX7" fmla="*/ 10000 w 11621"/>
              <a:gd name="connsiteY7" fmla="*/ 9940 h 10000"/>
              <a:gd name="connsiteX8" fmla="*/ 10000 w 11621"/>
              <a:gd name="connsiteY8" fmla="*/ 9940 h 10000"/>
              <a:gd name="connsiteX9" fmla="*/ 10000 w 11621"/>
              <a:gd name="connsiteY9" fmla="*/ 9958 h 10000"/>
              <a:gd name="connsiteX10" fmla="*/ 9991 w 11621"/>
              <a:gd name="connsiteY10" fmla="*/ 9972 h 10000"/>
              <a:gd name="connsiteX11" fmla="*/ 9982 w 11621"/>
              <a:gd name="connsiteY11" fmla="*/ 9981 h 10000"/>
              <a:gd name="connsiteX12" fmla="*/ 9959 w 11621"/>
              <a:gd name="connsiteY12" fmla="*/ 9991 h 10000"/>
              <a:gd name="connsiteX13" fmla="*/ 9959 w 11621"/>
              <a:gd name="connsiteY13" fmla="*/ 9991 h 10000"/>
              <a:gd name="connsiteX14" fmla="*/ 9905 w 11621"/>
              <a:gd name="connsiteY14" fmla="*/ 9995 h 10000"/>
              <a:gd name="connsiteX15" fmla="*/ 9847 w 11621"/>
              <a:gd name="connsiteY15" fmla="*/ 10000 h 10000"/>
              <a:gd name="connsiteX16" fmla="*/ 9734 w 11621"/>
              <a:gd name="connsiteY16" fmla="*/ 10000 h 10000"/>
              <a:gd name="connsiteX17" fmla="*/ 7052 w 11621"/>
              <a:gd name="connsiteY17" fmla="*/ 8902 h 10000"/>
              <a:gd name="connsiteX18" fmla="*/ 6805 w 11621"/>
              <a:gd name="connsiteY18" fmla="*/ 8736 h 10000"/>
              <a:gd name="connsiteX19" fmla="*/ 6562 w 11621"/>
              <a:gd name="connsiteY19" fmla="*/ 8564 h 10000"/>
              <a:gd name="connsiteX20" fmla="*/ 6319 w 11621"/>
              <a:gd name="connsiteY20" fmla="*/ 8388 h 10000"/>
              <a:gd name="connsiteX21" fmla="*/ 6085 w 11621"/>
              <a:gd name="connsiteY21" fmla="*/ 8208 h 10000"/>
              <a:gd name="connsiteX22" fmla="*/ 5851 w 11621"/>
              <a:gd name="connsiteY22" fmla="*/ 8022 h 10000"/>
              <a:gd name="connsiteX23" fmla="*/ 5621 w 11621"/>
              <a:gd name="connsiteY23" fmla="*/ 7832 h 10000"/>
              <a:gd name="connsiteX24" fmla="*/ 5392 w 11621"/>
              <a:gd name="connsiteY24" fmla="*/ 7642 h 10000"/>
              <a:gd name="connsiteX25" fmla="*/ 5167 w 11621"/>
              <a:gd name="connsiteY25" fmla="*/ 7443 h 10000"/>
              <a:gd name="connsiteX26" fmla="*/ 5167 w 11621"/>
              <a:gd name="connsiteY26" fmla="*/ 7443 h 10000"/>
              <a:gd name="connsiteX27" fmla="*/ 4905 w 11621"/>
              <a:gd name="connsiteY27" fmla="*/ 7216 h 10000"/>
              <a:gd name="connsiteX28" fmla="*/ 4905 w 11621"/>
              <a:gd name="connsiteY28" fmla="*/ 7216 h 10000"/>
              <a:gd name="connsiteX29" fmla="*/ 4995 w 11621"/>
              <a:gd name="connsiteY29" fmla="*/ 7040 h 10000"/>
              <a:gd name="connsiteX30" fmla="*/ 5077 w 11621"/>
              <a:gd name="connsiteY30" fmla="*/ 6864 h 10000"/>
              <a:gd name="connsiteX31" fmla="*/ 5077 w 11621"/>
              <a:gd name="connsiteY31" fmla="*/ 6864 h 10000"/>
              <a:gd name="connsiteX32" fmla="*/ 5113 w 11621"/>
              <a:gd name="connsiteY32" fmla="*/ 6781 h 10000"/>
              <a:gd name="connsiteX33" fmla="*/ 5144 w 11621"/>
              <a:gd name="connsiteY33" fmla="*/ 6693 h 10000"/>
              <a:gd name="connsiteX34" fmla="*/ 5176 w 11621"/>
              <a:gd name="connsiteY34" fmla="*/ 6605 h 10000"/>
              <a:gd name="connsiteX35" fmla="*/ 5203 w 11621"/>
              <a:gd name="connsiteY35" fmla="*/ 6517 h 10000"/>
              <a:gd name="connsiteX36" fmla="*/ 5225 w 11621"/>
              <a:gd name="connsiteY36" fmla="*/ 6424 h 10000"/>
              <a:gd name="connsiteX37" fmla="*/ 5243 w 11621"/>
              <a:gd name="connsiteY37" fmla="*/ 6336 h 10000"/>
              <a:gd name="connsiteX38" fmla="*/ 5252 w 11621"/>
              <a:gd name="connsiteY38" fmla="*/ 6244 h 10000"/>
              <a:gd name="connsiteX39" fmla="*/ 5261 w 11621"/>
              <a:gd name="connsiteY39" fmla="*/ 6146 h 10000"/>
              <a:gd name="connsiteX40" fmla="*/ 5261 w 11621"/>
              <a:gd name="connsiteY40" fmla="*/ 6146 h 10000"/>
              <a:gd name="connsiteX41" fmla="*/ 5266 w 11621"/>
              <a:gd name="connsiteY41" fmla="*/ 6040 h 10000"/>
              <a:gd name="connsiteX42" fmla="*/ 5257 w 11621"/>
              <a:gd name="connsiteY42" fmla="*/ 5933 h 10000"/>
              <a:gd name="connsiteX43" fmla="*/ 5243 w 11621"/>
              <a:gd name="connsiteY43" fmla="*/ 5831 h 10000"/>
              <a:gd name="connsiteX44" fmla="*/ 5221 w 11621"/>
              <a:gd name="connsiteY44" fmla="*/ 5730 h 10000"/>
              <a:gd name="connsiteX45" fmla="*/ 5189 w 11621"/>
              <a:gd name="connsiteY45" fmla="*/ 5632 h 10000"/>
              <a:gd name="connsiteX46" fmla="*/ 5149 w 11621"/>
              <a:gd name="connsiteY46" fmla="*/ 5535 h 10000"/>
              <a:gd name="connsiteX47" fmla="*/ 5099 w 11621"/>
              <a:gd name="connsiteY47" fmla="*/ 5442 h 10000"/>
              <a:gd name="connsiteX48" fmla="*/ 5045 w 11621"/>
              <a:gd name="connsiteY48" fmla="*/ 5350 h 10000"/>
              <a:gd name="connsiteX49" fmla="*/ 5045 w 11621"/>
              <a:gd name="connsiteY49" fmla="*/ 5350 h 10000"/>
              <a:gd name="connsiteX50" fmla="*/ 4986 w 11621"/>
              <a:gd name="connsiteY50" fmla="*/ 5266 h 10000"/>
              <a:gd name="connsiteX51" fmla="*/ 4923 w 11621"/>
              <a:gd name="connsiteY51" fmla="*/ 5183 h 10000"/>
              <a:gd name="connsiteX52" fmla="*/ 4856 w 11621"/>
              <a:gd name="connsiteY52" fmla="*/ 5109 h 10000"/>
              <a:gd name="connsiteX53" fmla="*/ 4784 w 11621"/>
              <a:gd name="connsiteY53" fmla="*/ 5035 h 10000"/>
              <a:gd name="connsiteX54" fmla="*/ 4707 w 11621"/>
              <a:gd name="connsiteY54" fmla="*/ 4965 h 10000"/>
              <a:gd name="connsiteX55" fmla="*/ 4631 w 11621"/>
              <a:gd name="connsiteY55" fmla="*/ 4900 h 10000"/>
              <a:gd name="connsiteX56" fmla="*/ 4550 w 11621"/>
              <a:gd name="connsiteY56" fmla="*/ 4836 h 10000"/>
              <a:gd name="connsiteX57" fmla="*/ 4469 w 11621"/>
              <a:gd name="connsiteY57" fmla="*/ 4775 h 10000"/>
              <a:gd name="connsiteX58" fmla="*/ 4469 w 11621"/>
              <a:gd name="connsiteY58" fmla="*/ 4775 h 10000"/>
              <a:gd name="connsiteX59" fmla="*/ 4347 w 11621"/>
              <a:gd name="connsiteY59" fmla="*/ 4687 h 10000"/>
              <a:gd name="connsiteX60" fmla="*/ 4226 w 11621"/>
              <a:gd name="connsiteY60" fmla="*/ 4609 h 10000"/>
              <a:gd name="connsiteX61" fmla="*/ 4104 w 11621"/>
              <a:gd name="connsiteY61" fmla="*/ 4530 h 10000"/>
              <a:gd name="connsiteX62" fmla="*/ 3978 w 11621"/>
              <a:gd name="connsiteY62" fmla="*/ 4456 h 10000"/>
              <a:gd name="connsiteX63" fmla="*/ 3852 w 11621"/>
              <a:gd name="connsiteY63" fmla="*/ 4386 h 10000"/>
              <a:gd name="connsiteX64" fmla="*/ 3722 w 11621"/>
              <a:gd name="connsiteY64" fmla="*/ 4317 h 10000"/>
              <a:gd name="connsiteX65" fmla="*/ 3591 w 11621"/>
              <a:gd name="connsiteY65" fmla="*/ 4252 h 10000"/>
              <a:gd name="connsiteX66" fmla="*/ 3461 w 11621"/>
              <a:gd name="connsiteY66" fmla="*/ 4187 h 10000"/>
              <a:gd name="connsiteX67" fmla="*/ 3461 w 11621"/>
              <a:gd name="connsiteY67" fmla="*/ 4187 h 10000"/>
              <a:gd name="connsiteX68" fmla="*/ 3029 w 11621"/>
              <a:gd name="connsiteY68" fmla="*/ 3993 h 10000"/>
              <a:gd name="connsiteX69" fmla="*/ 2601 w 11621"/>
              <a:gd name="connsiteY69" fmla="*/ 3798 h 10000"/>
              <a:gd name="connsiteX70" fmla="*/ 1742 w 11621"/>
              <a:gd name="connsiteY70" fmla="*/ 3414 h 10000"/>
              <a:gd name="connsiteX71" fmla="*/ 1742 w 11621"/>
              <a:gd name="connsiteY71" fmla="*/ 3414 h 10000"/>
              <a:gd name="connsiteX72" fmla="*/ 1598 w 11621"/>
              <a:gd name="connsiteY72" fmla="*/ 3349 h 10000"/>
              <a:gd name="connsiteX73" fmla="*/ 1454 w 11621"/>
              <a:gd name="connsiteY73" fmla="*/ 3279 h 10000"/>
              <a:gd name="connsiteX74" fmla="*/ 1314 w 11621"/>
              <a:gd name="connsiteY74" fmla="*/ 3205 h 10000"/>
              <a:gd name="connsiteX75" fmla="*/ 1179 w 11621"/>
              <a:gd name="connsiteY75" fmla="*/ 3126 h 10000"/>
              <a:gd name="connsiteX76" fmla="*/ 1049 w 11621"/>
              <a:gd name="connsiteY76" fmla="*/ 3038 h 10000"/>
              <a:gd name="connsiteX77" fmla="*/ 923 w 11621"/>
              <a:gd name="connsiteY77" fmla="*/ 2946 h 10000"/>
              <a:gd name="connsiteX78" fmla="*/ 797 w 11621"/>
              <a:gd name="connsiteY78" fmla="*/ 2849 h 10000"/>
              <a:gd name="connsiteX79" fmla="*/ 680 w 11621"/>
              <a:gd name="connsiteY79" fmla="*/ 2742 h 10000"/>
              <a:gd name="connsiteX80" fmla="*/ 680 w 11621"/>
              <a:gd name="connsiteY80" fmla="*/ 2742 h 10000"/>
              <a:gd name="connsiteX81" fmla="*/ 590 w 11621"/>
              <a:gd name="connsiteY81" fmla="*/ 2649 h 10000"/>
              <a:gd name="connsiteX82" fmla="*/ 504 w 11621"/>
              <a:gd name="connsiteY82" fmla="*/ 2557 h 10000"/>
              <a:gd name="connsiteX83" fmla="*/ 423 w 11621"/>
              <a:gd name="connsiteY83" fmla="*/ 2459 h 10000"/>
              <a:gd name="connsiteX84" fmla="*/ 356 w 11621"/>
              <a:gd name="connsiteY84" fmla="*/ 2362 h 10000"/>
              <a:gd name="connsiteX85" fmla="*/ 288 w 11621"/>
              <a:gd name="connsiteY85" fmla="*/ 2260 h 10000"/>
              <a:gd name="connsiteX86" fmla="*/ 230 w 11621"/>
              <a:gd name="connsiteY86" fmla="*/ 2154 h 10000"/>
              <a:gd name="connsiteX87" fmla="*/ 180 w 11621"/>
              <a:gd name="connsiteY87" fmla="*/ 2047 h 10000"/>
              <a:gd name="connsiteX88" fmla="*/ 131 w 11621"/>
              <a:gd name="connsiteY88" fmla="*/ 1941 h 10000"/>
              <a:gd name="connsiteX89" fmla="*/ 95 w 11621"/>
              <a:gd name="connsiteY89" fmla="*/ 1830 h 10000"/>
              <a:gd name="connsiteX90" fmla="*/ 63 w 11621"/>
              <a:gd name="connsiteY90" fmla="*/ 1714 h 10000"/>
              <a:gd name="connsiteX91" fmla="*/ 36 w 11621"/>
              <a:gd name="connsiteY91" fmla="*/ 1593 h 10000"/>
              <a:gd name="connsiteX92" fmla="*/ 18 w 11621"/>
              <a:gd name="connsiteY92" fmla="*/ 1473 h 10000"/>
              <a:gd name="connsiteX93" fmla="*/ 5 w 11621"/>
              <a:gd name="connsiteY93" fmla="*/ 1352 h 10000"/>
              <a:gd name="connsiteX94" fmla="*/ 0 w 11621"/>
              <a:gd name="connsiteY94" fmla="*/ 1227 h 10000"/>
              <a:gd name="connsiteX95" fmla="*/ 0 w 11621"/>
              <a:gd name="connsiteY95" fmla="*/ 1098 h 10000"/>
              <a:gd name="connsiteX96" fmla="*/ 9 w 11621"/>
              <a:gd name="connsiteY96" fmla="*/ 968 h 10000"/>
              <a:gd name="connsiteX97" fmla="*/ 9 w 11621"/>
              <a:gd name="connsiteY97" fmla="*/ 968 h 10000"/>
              <a:gd name="connsiteX98" fmla="*/ 23 w 11621"/>
              <a:gd name="connsiteY98" fmla="*/ 848 h 10000"/>
              <a:gd name="connsiteX99" fmla="*/ 41 w 11621"/>
              <a:gd name="connsiteY99" fmla="*/ 727 h 10000"/>
              <a:gd name="connsiteX100" fmla="*/ 68 w 11621"/>
              <a:gd name="connsiteY100" fmla="*/ 607 h 10000"/>
              <a:gd name="connsiteX101" fmla="*/ 95 w 11621"/>
              <a:gd name="connsiteY101" fmla="*/ 491 h 10000"/>
              <a:gd name="connsiteX102" fmla="*/ 131 w 11621"/>
              <a:gd name="connsiteY102" fmla="*/ 375 h 10000"/>
              <a:gd name="connsiteX103" fmla="*/ 171 w 11621"/>
              <a:gd name="connsiteY103" fmla="*/ 259 h 10000"/>
              <a:gd name="connsiteX104" fmla="*/ 212 w 11621"/>
              <a:gd name="connsiteY104" fmla="*/ 148 h 10000"/>
              <a:gd name="connsiteX105" fmla="*/ 266 w 11621"/>
              <a:gd name="connsiteY105" fmla="*/ 37 h 10000"/>
              <a:gd name="connsiteX106" fmla="*/ 266 w 11621"/>
              <a:gd name="connsiteY106" fmla="*/ 37 h 10000"/>
              <a:gd name="connsiteX107" fmla="*/ 275 w 11621"/>
              <a:gd name="connsiteY107" fmla="*/ 0 h 10000"/>
              <a:gd name="connsiteX108" fmla="*/ 275 w 11621"/>
              <a:gd name="connsiteY108" fmla="*/ 0 h 10000"/>
              <a:gd name="connsiteX0" fmla="*/ 275 w 10000"/>
              <a:gd name="connsiteY0" fmla="*/ 0 h 10000"/>
              <a:gd name="connsiteX1" fmla="*/ 275 w 10000"/>
              <a:gd name="connsiteY1" fmla="*/ 0 h 10000"/>
              <a:gd name="connsiteX2" fmla="*/ 5308 w 10000"/>
              <a:gd name="connsiteY2" fmla="*/ 0 h 10000"/>
              <a:gd name="connsiteX3" fmla="*/ 10000 w 10000"/>
              <a:gd name="connsiteY3" fmla="*/ 74 h 10000"/>
              <a:gd name="connsiteX4" fmla="*/ 10000 w 10000"/>
              <a:gd name="connsiteY4" fmla="*/ 74 h 10000"/>
              <a:gd name="connsiteX5" fmla="*/ 10000 w 10000"/>
              <a:gd name="connsiteY5" fmla="*/ 9893 h 10000"/>
              <a:gd name="connsiteX6" fmla="*/ 10000 w 10000"/>
              <a:gd name="connsiteY6" fmla="*/ 9893 h 10000"/>
              <a:gd name="connsiteX7" fmla="*/ 10000 w 10000"/>
              <a:gd name="connsiteY7" fmla="*/ 9940 h 10000"/>
              <a:gd name="connsiteX8" fmla="*/ 10000 w 10000"/>
              <a:gd name="connsiteY8" fmla="*/ 9940 h 10000"/>
              <a:gd name="connsiteX9" fmla="*/ 10000 w 10000"/>
              <a:gd name="connsiteY9" fmla="*/ 9958 h 10000"/>
              <a:gd name="connsiteX10" fmla="*/ 9991 w 10000"/>
              <a:gd name="connsiteY10" fmla="*/ 9972 h 10000"/>
              <a:gd name="connsiteX11" fmla="*/ 9982 w 10000"/>
              <a:gd name="connsiteY11" fmla="*/ 9981 h 10000"/>
              <a:gd name="connsiteX12" fmla="*/ 9959 w 10000"/>
              <a:gd name="connsiteY12" fmla="*/ 9991 h 10000"/>
              <a:gd name="connsiteX13" fmla="*/ 9959 w 10000"/>
              <a:gd name="connsiteY13" fmla="*/ 9991 h 10000"/>
              <a:gd name="connsiteX14" fmla="*/ 9905 w 10000"/>
              <a:gd name="connsiteY14" fmla="*/ 9995 h 10000"/>
              <a:gd name="connsiteX15" fmla="*/ 9847 w 10000"/>
              <a:gd name="connsiteY15" fmla="*/ 10000 h 10000"/>
              <a:gd name="connsiteX16" fmla="*/ 9734 w 10000"/>
              <a:gd name="connsiteY16" fmla="*/ 10000 h 10000"/>
              <a:gd name="connsiteX17" fmla="*/ 7052 w 10000"/>
              <a:gd name="connsiteY17" fmla="*/ 8902 h 10000"/>
              <a:gd name="connsiteX18" fmla="*/ 6805 w 10000"/>
              <a:gd name="connsiteY18" fmla="*/ 8736 h 10000"/>
              <a:gd name="connsiteX19" fmla="*/ 6562 w 10000"/>
              <a:gd name="connsiteY19" fmla="*/ 8564 h 10000"/>
              <a:gd name="connsiteX20" fmla="*/ 6319 w 10000"/>
              <a:gd name="connsiteY20" fmla="*/ 8388 h 10000"/>
              <a:gd name="connsiteX21" fmla="*/ 6085 w 10000"/>
              <a:gd name="connsiteY21" fmla="*/ 8208 h 10000"/>
              <a:gd name="connsiteX22" fmla="*/ 5851 w 10000"/>
              <a:gd name="connsiteY22" fmla="*/ 8022 h 10000"/>
              <a:gd name="connsiteX23" fmla="*/ 5621 w 10000"/>
              <a:gd name="connsiteY23" fmla="*/ 7832 h 10000"/>
              <a:gd name="connsiteX24" fmla="*/ 5392 w 10000"/>
              <a:gd name="connsiteY24" fmla="*/ 7642 h 10000"/>
              <a:gd name="connsiteX25" fmla="*/ 5167 w 10000"/>
              <a:gd name="connsiteY25" fmla="*/ 7443 h 10000"/>
              <a:gd name="connsiteX26" fmla="*/ 5167 w 10000"/>
              <a:gd name="connsiteY26" fmla="*/ 7443 h 10000"/>
              <a:gd name="connsiteX27" fmla="*/ 4905 w 10000"/>
              <a:gd name="connsiteY27" fmla="*/ 7216 h 10000"/>
              <a:gd name="connsiteX28" fmla="*/ 4905 w 10000"/>
              <a:gd name="connsiteY28" fmla="*/ 7216 h 10000"/>
              <a:gd name="connsiteX29" fmla="*/ 4995 w 10000"/>
              <a:gd name="connsiteY29" fmla="*/ 7040 h 10000"/>
              <a:gd name="connsiteX30" fmla="*/ 5077 w 10000"/>
              <a:gd name="connsiteY30" fmla="*/ 6864 h 10000"/>
              <a:gd name="connsiteX31" fmla="*/ 5077 w 10000"/>
              <a:gd name="connsiteY31" fmla="*/ 6864 h 10000"/>
              <a:gd name="connsiteX32" fmla="*/ 5113 w 10000"/>
              <a:gd name="connsiteY32" fmla="*/ 6781 h 10000"/>
              <a:gd name="connsiteX33" fmla="*/ 5144 w 10000"/>
              <a:gd name="connsiteY33" fmla="*/ 6693 h 10000"/>
              <a:gd name="connsiteX34" fmla="*/ 5176 w 10000"/>
              <a:gd name="connsiteY34" fmla="*/ 6605 h 10000"/>
              <a:gd name="connsiteX35" fmla="*/ 5203 w 10000"/>
              <a:gd name="connsiteY35" fmla="*/ 6517 h 10000"/>
              <a:gd name="connsiteX36" fmla="*/ 5225 w 10000"/>
              <a:gd name="connsiteY36" fmla="*/ 6424 h 10000"/>
              <a:gd name="connsiteX37" fmla="*/ 5243 w 10000"/>
              <a:gd name="connsiteY37" fmla="*/ 6336 h 10000"/>
              <a:gd name="connsiteX38" fmla="*/ 5252 w 10000"/>
              <a:gd name="connsiteY38" fmla="*/ 6244 h 10000"/>
              <a:gd name="connsiteX39" fmla="*/ 5261 w 10000"/>
              <a:gd name="connsiteY39" fmla="*/ 6146 h 10000"/>
              <a:gd name="connsiteX40" fmla="*/ 5261 w 10000"/>
              <a:gd name="connsiteY40" fmla="*/ 6146 h 10000"/>
              <a:gd name="connsiteX41" fmla="*/ 5266 w 10000"/>
              <a:gd name="connsiteY41" fmla="*/ 6040 h 10000"/>
              <a:gd name="connsiteX42" fmla="*/ 5257 w 10000"/>
              <a:gd name="connsiteY42" fmla="*/ 5933 h 10000"/>
              <a:gd name="connsiteX43" fmla="*/ 5243 w 10000"/>
              <a:gd name="connsiteY43" fmla="*/ 5831 h 10000"/>
              <a:gd name="connsiteX44" fmla="*/ 5221 w 10000"/>
              <a:gd name="connsiteY44" fmla="*/ 5730 h 10000"/>
              <a:gd name="connsiteX45" fmla="*/ 5189 w 10000"/>
              <a:gd name="connsiteY45" fmla="*/ 5632 h 10000"/>
              <a:gd name="connsiteX46" fmla="*/ 5149 w 10000"/>
              <a:gd name="connsiteY46" fmla="*/ 5535 h 10000"/>
              <a:gd name="connsiteX47" fmla="*/ 5099 w 10000"/>
              <a:gd name="connsiteY47" fmla="*/ 5442 h 10000"/>
              <a:gd name="connsiteX48" fmla="*/ 5045 w 10000"/>
              <a:gd name="connsiteY48" fmla="*/ 5350 h 10000"/>
              <a:gd name="connsiteX49" fmla="*/ 5045 w 10000"/>
              <a:gd name="connsiteY49" fmla="*/ 5350 h 10000"/>
              <a:gd name="connsiteX50" fmla="*/ 4986 w 10000"/>
              <a:gd name="connsiteY50" fmla="*/ 5266 h 10000"/>
              <a:gd name="connsiteX51" fmla="*/ 4923 w 10000"/>
              <a:gd name="connsiteY51" fmla="*/ 5183 h 10000"/>
              <a:gd name="connsiteX52" fmla="*/ 4856 w 10000"/>
              <a:gd name="connsiteY52" fmla="*/ 5109 h 10000"/>
              <a:gd name="connsiteX53" fmla="*/ 4784 w 10000"/>
              <a:gd name="connsiteY53" fmla="*/ 5035 h 10000"/>
              <a:gd name="connsiteX54" fmla="*/ 4707 w 10000"/>
              <a:gd name="connsiteY54" fmla="*/ 4965 h 10000"/>
              <a:gd name="connsiteX55" fmla="*/ 4631 w 10000"/>
              <a:gd name="connsiteY55" fmla="*/ 4900 h 10000"/>
              <a:gd name="connsiteX56" fmla="*/ 4550 w 10000"/>
              <a:gd name="connsiteY56" fmla="*/ 4836 h 10000"/>
              <a:gd name="connsiteX57" fmla="*/ 4469 w 10000"/>
              <a:gd name="connsiteY57" fmla="*/ 4775 h 10000"/>
              <a:gd name="connsiteX58" fmla="*/ 4469 w 10000"/>
              <a:gd name="connsiteY58" fmla="*/ 4775 h 10000"/>
              <a:gd name="connsiteX59" fmla="*/ 4347 w 10000"/>
              <a:gd name="connsiteY59" fmla="*/ 4687 h 10000"/>
              <a:gd name="connsiteX60" fmla="*/ 4226 w 10000"/>
              <a:gd name="connsiteY60" fmla="*/ 4609 h 10000"/>
              <a:gd name="connsiteX61" fmla="*/ 4104 w 10000"/>
              <a:gd name="connsiteY61" fmla="*/ 4530 h 10000"/>
              <a:gd name="connsiteX62" fmla="*/ 3978 w 10000"/>
              <a:gd name="connsiteY62" fmla="*/ 4456 h 10000"/>
              <a:gd name="connsiteX63" fmla="*/ 3852 w 10000"/>
              <a:gd name="connsiteY63" fmla="*/ 4386 h 10000"/>
              <a:gd name="connsiteX64" fmla="*/ 3722 w 10000"/>
              <a:gd name="connsiteY64" fmla="*/ 4317 h 10000"/>
              <a:gd name="connsiteX65" fmla="*/ 3591 w 10000"/>
              <a:gd name="connsiteY65" fmla="*/ 4252 h 10000"/>
              <a:gd name="connsiteX66" fmla="*/ 3461 w 10000"/>
              <a:gd name="connsiteY66" fmla="*/ 4187 h 10000"/>
              <a:gd name="connsiteX67" fmla="*/ 3461 w 10000"/>
              <a:gd name="connsiteY67" fmla="*/ 4187 h 10000"/>
              <a:gd name="connsiteX68" fmla="*/ 3029 w 10000"/>
              <a:gd name="connsiteY68" fmla="*/ 3993 h 10000"/>
              <a:gd name="connsiteX69" fmla="*/ 2601 w 10000"/>
              <a:gd name="connsiteY69" fmla="*/ 3798 h 10000"/>
              <a:gd name="connsiteX70" fmla="*/ 1742 w 10000"/>
              <a:gd name="connsiteY70" fmla="*/ 3414 h 10000"/>
              <a:gd name="connsiteX71" fmla="*/ 1742 w 10000"/>
              <a:gd name="connsiteY71" fmla="*/ 3414 h 10000"/>
              <a:gd name="connsiteX72" fmla="*/ 1598 w 10000"/>
              <a:gd name="connsiteY72" fmla="*/ 3349 h 10000"/>
              <a:gd name="connsiteX73" fmla="*/ 1454 w 10000"/>
              <a:gd name="connsiteY73" fmla="*/ 3279 h 10000"/>
              <a:gd name="connsiteX74" fmla="*/ 1314 w 10000"/>
              <a:gd name="connsiteY74" fmla="*/ 3205 h 10000"/>
              <a:gd name="connsiteX75" fmla="*/ 1179 w 10000"/>
              <a:gd name="connsiteY75" fmla="*/ 3126 h 10000"/>
              <a:gd name="connsiteX76" fmla="*/ 1049 w 10000"/>
              <a:gd name="connsiteY76" fmla="*/ 3038 h 10000"/>
              <a:gd name="connsiteX77" fmla="*/ 923 w 10000"/>
              <a:gd name="connsiteY77" fmla="*/ 2946 h 10000"/>
              <a:gd name="connsiteX78" fmla="*/ 797 w 10000"/>
              <a:gd name="connsiteY78" fmla="*/ 2849 h 10000"/>
              <a:gd name="connsiteX79" fmla="*/ 680 w 10000"/>
              <a:gd name="connsiteY79" fmla="*/ 2742 h 10000"/>
              <a:gd name="connsiteX80" fmla="*/ 680 w 10000"/>
              <a:gd name="connsiteY80" fmla="*/ 2742 h 10000"/>
              <a:gd name="connsiteX81" fmla="*/ 590 w 10000"/>
              <a:gd name="connsiteY81" fmla="*/ 2649 h 10000"/>
              <a:gd name="connsiteX82" fmla="*/ 504 w 10000"/>
              <a:gd name="connsiteY82" fmla="*/ 2557 h 10000"/>
              <a:gd name="connsiteX83" fmla="*/ 423 w 10000"/>
              <a:gd name="connsiteY83" fmla="*/ 2459 h 10000"/>
              <a:gd name="connsiteX84" fmla="*/ 356 w 10000"/>
              <a:gd name="connsiteY84" fmla="*/ 2362 h 10000"/>
              <a:gd name="connsiteX85" fmla="*/ 288 w 10000"/>
              <a:gd name="connsiteY85" fmla="*/ 2260 h 10000"/>
              <a:gd name="connsiteX86" fmla="*/ 230 w 10000"/>
              <a:gd name="connsiteY86" fmla="*/ 2154 h 10000"/>
              <a:gd name="connsiteX87" fmla="*/ 180 w 10000"/>
              <a:gd name="connsiteY87" fmla="*/ 2047 h 10000"/>
              <a:gd name="connsiteX88" fmla="*/ 131 w 10000"/>
              <a:gd name="connsiteY88" fmla="*/ 1941 h 10000"/>
              <a:gd name="connsiteX89" fmla="*/ 95 w 10000"/>
              <a:gd name="connsiteY89" fmla="*/ 1830 h 10000"/>
              <a:gd name="connsiteX90" fmla="*/ 63 w 10000"/>
              <a:gd name="connsiteY90" fmla="*/ 1714 h 10000"/>
              <a:gd name="connsiteX91" fmla="*/ 36 w 10000"/>
              <a:gd name="connsiteY91" fmla="*/ 1593 h 10000"/>
              <a:gd name="connsiteX92" fmla="*/ 18 w 10000"/>
              <a:gd name="connsiteY92" fmla="*/ 1473 h 10000"/>
              <a:gd name="connsiteX93" fmla="*/ 5 w 10000"/>
              <a:gd name="connsiteY93" fmla="*/ 1352 h 10000"/>
              <a:gd name="connsiteX94" fmla="*/ 0 w 10000"/>
              <a:gd name="connsiteY94" fmla="*/ 1227 h 10000"/>
              <a:gd name="connsiteX95" fmla="*/ 0 w 10000"/>
              <a:gd name="connsiteY95" fmla="*/ 1098 h 10000"/>
              <a:gd name="connsiteX96" fmla="*/ 9 w 10000"/>
              <a:gd name="connsiteY96" fmla="*/ 968 h 10000"/>
              <a:gd name="connsiteX97" fmla="*/ 9 w 10000"/>
              <a:gd name="connsiteY97" fmla="*/ 968 h 10000"/>
              <a:gd name="connsiteX98" fmla="*/ 23 w 10000"/>
              <a:gd name="connsiteY98" fmla="*/ 848 h 10000"/>
              <a:gd name="connsiteX99" fmla="*/ 41 w 10000"/>
              <a:gd name="connsiteY99" fmla="*/ 727 h 10000"/>
              <a:gd name="connsiteX100" fmla="*/ 68 w 10000"/>
              <a:gd name="connsiteY100" fmla="*/ 607 h 10000"/>
              <a:gd name="connsiteX101" fmla="*/ 95 w 10000"/>
              <a:gd name="connsiteY101" fmla="*/ 491 h 10000"/>
              <a:gd name="connsiteX102" fmla="*/ 131 w 10000"/>
              <a:gd name="connsiteY102" fmla="*/ 375 h 10000"/>
              <a:gd name="connsiteX103" fmla="*/ 171 w 10000"/>
              <a:gd name="connsiteY103" fmla="*/ 259 h 10000"/>
              <a:gd name="connsiteX104" fmla="*/ 212 w 10000"/>
              <a:gd name="connsiteY104" fmla="*/ 148 h 10000"/>
              <a:gd name="connsiteX105" fmla="*/ 266 w 10000"/>
              <a:gd name="connsiteY105" fmla="*/ 37 h 10000"/>
              <a:gd name="connsiteX106" fmla="*/ 266 w 10000"/>
              <a:gd name="connsiteY106" fmla="*/ 37 h 10000"/>
              <a:gd name="connsiteX107" fmla="*/ 275 w 10000"/>
              <a:gd name="connsiteY107" fmla="*/ 0 h 10000"/>
              <a:gd name="connsiteX108" fmla="*/ 275 w 10000"/>
              <a:gd name="connsiteY108" fmla="*/ 0 h 10000"/>
              <a:gd name="connsiteX0" fmla="*/ 275 w 10000"/>
              <a:gd name="connsiteY0" fmla="*/ 0 h 10000"/>
              <a:gd name="connsiteX1" fmla="*/ 275 w 10000"/>
              <a:gd name="connsiteY1" fmla="*/ 0 h 10000"/>
              <a:gd name="connsiteX2" fmla="*/ 5308 w 10000"/>
              <a:gd name="connsiteY2" fmla="*/ 0 h 10000"/>
              <a:gd name="connsiteX3" fmla="*/ 10000 w 10000"/>
              <a:gd name="connsiteY3" fmla="*/ 74 h 10000"/>
              <a:gd name="connsiteX4" fmla="*/ 10000 w 10000"/>
              <a:gd name="connsiteY4" fmla="*/ 9893 h 10000"/>
              <a:gd name="connsiteX5" fmla="*/ 10000 w 10000"/>
              <a:gd name="connsiteY5" fmla="*/ 9893 h 10000"/>
              <a:gd name="connsiteX6" fmla="*/ 10000 w 10000"/>
              <a:gd name="connsiteY6" fmla="*/ 9940 h 10000"/>
              <a:gd name="connsiteX7" fmla="*/ 10000 w 10000"/>
              <a:gd name="connsiteY7" fmla="*/ 9940 h 10000"/>
              <a:gd name="connsiteX8" fmla="*/ 10000 w 10000"/>
              <a:gd name="connsiteY8" fmla="*/ 9958 h 10000"/>
              <a:gd name="connsiteX9" fmla="*/ 9991 w 10000"/>
              <a:gd name="connsiteY9" fmla="*/ 9972 h 10000"/>
              <a:gd name="connsiteX10" fmla="*/ 9982 w 10000"/>
              <a:gd name="connsiteY10" fmla="*/ 9981 h 10000"/>
              <a:gd name="connsiteX11" fmla="*/ 9959 w 10000"/>
              <a:gd name="connsiteY11" fmla="*/ 9991 h 10000"/>
              <a:gd name="connsiteX12" fmla="*/ 9959 w 10000"/>
              <a:gd name="connsiteY12" fmla="*/ 9991 h 10000"/>
              <a:gd name="connsiteX13" fmla="*/ 9905 w 10000"/>
              <a:gd name="connsiteY13" fmla="*/ 9995 h 10000"/>
              <a:gd name="connsiteX14" fmla="*/ 9847 w 10000"/>
              <a:gd name="connsiteY14" fmla="*/ 10000 h 10000"/>
              <a:gd name="connsiteX15" fmla="*/ 9734 w 10000"/>
              <a:gd name="connsiteY15" fmla="*/ 10000 h 10000"/>
              <a:gd name="connsiteX16" fmla="*/ 7052 w 10000"/>
              <a:gd name="connsiteY16" fmla="*/ 8902 h 10000"/>
              <a:gd name="connsiteX17" fmla="*/ 6805 w 10000"/>
              <a:gd name="connsiteY17" fmla="*/ 8736 h 10000"/>
              <a:gd name="connsiteX18" fmla="*/ 6562 w 10000"/>
              <a:gd name="connsiteY18" fmla="*/ 8564 h 10000"/>
              <a:gd name="connsiteX19" fmla="*/ 6319 w 10000"/>
              <a:gd name="connsiteY19" fmla="*/ 8388 h 10000"/>
              <a:gd name="connsiteX20" fmla="*/ 6085 w 10000"/>
              <a:gd name="connsiteY20" fmla="*/ 8208 h 10000"/>
              <a:gd name="connsiteX21" fmla="*/ 5851 w 10000"/>
              <a:gd name="connsiteY21" fmla="*/ 8022 h 10000"/>
              <a:gd name="connsiteX22" fmla="*/ 5621 w 10000"/>
              <a:gd name="connsiteY22" fmla="*/ 7832 h 10000"/>
              <a:gd name="connsiteX23" fmla="*/ 5392 w 10000"/>
              <a:gd name="connsiteY23" fmla="*/ 7642 h 10000"/>
              <a:gd name="connsiteX24" fmla="*/ 5167 w 10000"/>
              <a:gd name="connsiteY24" fmla="*/ 7443 h 10000"/>
              <a:gd name="connsiteX25" fmla="*/ 5167 w 10000"/>
              <a:gd name="connsiteY25" fmla="*/ 7443 h 10000"/>
              <a:gd name="connsiteX26" fmla="*/ 4905 w 10000"/>
              <a:gd name="connsiteY26" fmla="*/ 7216 h 10000"/>
              <a:gd name="connsiteX27" fmla="*/ 4905 w 10000"/>
              <a:gd name="connsiteY27" fmla="*/ 7216 h 10000"/>
              <a:gd name="connsiteX28" fmla="*/ 4995 w 10000"/>
              <a:gd name="connsiteY28" fmla="*/ 7040 h 10000"/>
              <a:gd name="connsiteX29" fmla="*/ 5077 w 10000"/>
              <a:gd name="connsiteY29" fmla="*/ 6864 h 10000"/>
              <a:gd name="connsiteX30" fmla="*/ 5077 w 10000"/>
              <a:gd name="connsiteY30" fmla="*/ 6864 h 10000"/>
              <a:gd name="connsiteX31" fmla="*/ 5113 w 10000"/>
              <a:gd name="connsiteY31" fmla="*/ 6781 h 10000"/>
              <a:gd name="connsiteX32" fmla="*/ 5144 w 10000"/>
              <a:gd name="connsiteY32" fmla="*/ 6693 h 10000"/>
              <a:gd name="connsiteX33" fmla="*/ 5176 w 10000"/>
              <a:gd name="connsiteY33" fmla="*/ 6605 h 10000"/>
              <a:gd name="connsiteX34" fmla="*/ 5203 w 10000"/>
              <a:gd name="connsiteY34" fmla="*/ 6517 h 10000"/>
              <a:gd name="connsiteX35" fmla="*/ 5225 w 10000"/>
              <a:gd name="connsiteY35" fmla="*/ 6424 h 10000"/>
              <a:gd name="connsiteX36" fmla="*/ 5243 w 10000"/>
              <a:gd name="connsiteY36" fmla="*/ 6336 h 10000"/>
              <a:gd name="connsiteX37" fmla="*/ 5252 w 10000"/>
              <a:gd name="connsiteY37" fmla="*/ 6244 h 10000"/>
              <a:gd name="connsiteX38" fmla="*/ 5261 w 10000"/>
              <a:gd name="connsiteY38" fmla="*/ 6146 h 10000"/>
              <a:gd name="connsiteX39" fmla="*/ 5261 w 10000"/>
              <a:gd name="connsiteY39" fmla="*/ 6146 h 10000"/>
              <a:gd name="connsiteX40" fmla="*/ 5266 w 10000"/>
              <a:gd name="connsiteY40" fmla="*/ 6040 h 10000"/>
              <a:gd name="connsiteX41" fmla="*/ 5257 w 10000"/>
              <a:gd name="connsiteY41" fmla="*/ 5933 h 10000"/>
              <a:gd name="connsiteX42" fmla="*/ 5243 w 10000"/>
              <a:gd name="connsiteY42" fmla="*/ 5831 h 10000"/>
              <a:gd name="connsiteX43" fmla="*/ 5221 w 10000"/>
              <a:gd name="connsiteY43" fmla="*/ 5730 h 10000"/>
              <a:gd name="connsiteX44" fmla="*/ 5189 w 10000"/>
              <a:gd name="connsiteY44" fmla="*/ 5632 h 10000"/>
              <a:gd name="connsiteX45" fmla="*/ 5149 w 10000"/>
              <a:gd name="connsiteY45" fmla="*/ 5535 h 10000"/>
              <a:gd name="connsiteX46" fmla="*/ 5099 w 10000"/>
              <a:gd name="connsiteY46" fmla="*/ 5442 h 10000"/>
              <a:gd name="connsiteX47" fmla="*/ 5045 w 10000"/>
              <a:gd name="connsiteY47" fmla="*/ 5350 h 10000"/>
              <a:gd name="connsiteX48" fmla="*/ 5045 w 10000"/>
              <a:gd name="connsiteY48" fmla="*/ 5350 h 10000"/>
              <a:gd name="connsiteX49" fmla="*/ 4986 w 10000"/>
              <a:gd name="connsiteY49" fmla="*/ 5266 h 10000"/>
              <a:gd name="connsiteX50" fmla="*/ 4923 w 10000"/>
              <a:gd name="connsiteY50" fmla="*/ 5183 h 10000"/>
              <a:gd name="connsiteX51" fmla="*/ 4856 w 10000"/>
              <a:gd name="connsiteY51" fmla="*/ 5109 h 10000"/>
              <a:gd name="connsiteX52" fmla="*/ 4784 w 10000"/>
              <a:gd name="connsiteY52" fmla="*/ 5035 h 10000"/>
              <a:gd name="connsiteX53" fmla="*/ 4707 w 10000"/>
              <a:gd name="connsiteY53" fmla="*/ 4965 h 10000"/>
              <a:gd name="connsiteX54" fmla="*/ 4631 w 10000"/>
              <a:gd name="connsiteY54" fmla="*/ 4900 h 10000"/>
              <a:gd name="connsiteX55" fmla="*/ 4550 w 10000"/>
              <a:gd name="connsiteY55" fmla="*/ 4836 h 10000"/>
              <a:gd name="connsiteX56" fmla="*/ 4469 w 10000"/>
              <a:gd name="connsiteY56" fmla="*/ 4775 h 10000"/>
              <a:gd name="connsiteX57" fmla="*/ 4469 w 10000"/>
              <a:gd name="connsiteY57" fmla="*/ 4775 h 10000"/>
              <a:gd name="connsiteX58" fmla="*/ 4347 w 10000"/>
              <a:gd name="connsiteY58" fmla="*/ 4687 h 10000"/>
              <a:gd name="connsiteX59" fmla="*/ 4226 w 10000"/>
              <a:gd name="connsiteY59" fmla="*/ 4609 h 10000"/>
              <a:gd name="connsiteX60" fmla="*/ 4104 w 10000"/>
              <a:gd name="connsiteY60" fmla="*/ 4530 h 10000"/>
              <a:gd name="connsiteX61" fmla="*/ 3978 w 10000"/>
              <a:gd name="connsiteY61" fmla="*/ 4456 h 10000"/>
              <a:gd name="connsiteX62" fmla="*/ 3852 w 10000"/>
              <a:gd name="connsiteY62" fmla="*/ 4386 h 10000"/>
              <a:gd name="connsiteX63" fmla="*/ 3722 w 10000"/>
              <a:gd name="connsiteY63" fmla="*/ 4317 h 10000"/>
              <a:gd name="connsiteX64" fmla="*/ 3591 w 10000"/>
              <a:gd name="connsiteY64" fmla="*/ 4252 h 10000"/>
              <a:gd name="connsiteX65" fmla="*/ 3461 w 10000"/>
              <a:gd name="connsiteY65" fmla="*/ 4187 h 10000"/>
              <a:gd name="connsiteX66" fmla="*/ 3461 w 10000"/>
              <a:gd name="connsiteY66" fmla="*/ 4187 h 10000"/>
              <a:gd name="connsiteX67" fmla="*/ 3029 w 10000"/>
              <a:gd name="connsiteY67" fmla="*/ 3993 h 10000"/>
              <a:gd name="connsiteX68" fmla="*/ 2601 w 10000"/>
              <a:gd name="connsiteY68" fmla="*/ 3798 h 10000"/>
              <a:gd name="connsiteX69" fmla="*/ 1742 w 10000"/>
              <a:gd name="connsiteY69" fmla="*/ 3414 h 10000"/>
              <a:gd name="connsiteX70" fmla="*/ 1742 w 10000"/>
              <a:gd name="connsiteY70" fmla="*/ 3414 h 10000"/>
              <a:gd name="connsiteX71" fmla="*/ 1598 w 10000"/>
              <a:gd name="connsiteY71" fmla="*/ 3349 h 10000"/>
              <a:gd name="connsiteX72" fmla="*/ 1454 w 10000"/>
              <a:gd name="connsiteY72" fmla="*/ 3279 h 10000"/>
              <a:gd name="connsiteX73" fmla="*/ 1314 w 10000"/>
              <a:gd name="connsiteY73" fmla="*/ 3205 h 10000"/>
              <a:gd name="connsiteX74" fmla="*/ 1179 w 10000"/>
              <a:gd name="connsiteY74" fmla="*/ 3126 h 10000"/>
              <a:gd name="connsiteX75" fmla="*/ 1049 w 10000"/>
              <a:gd name="connsiteY75" fmla="*/ 3038 h 10000"/>
              <a:gd name="connsiteX76" fmla="*/ 923 w 10000"/>
              <a:gd name="connsiteY76" fmla="*/ 2946 h 10000"/>
              <a:gd name="connsiteX77" fmla="*/ 797 w 10000"/>
              <a:gd name="connsiteY77" fmla="*/ 2849 h 10000"/>
              <a:gd name="connsiteX78" fmla="*/ 680 w 10000"/>
              <a:gd name="connsiteY78" fmla="*/ 2742 h 10000"/>
              <a:gd name="connsiteX79" fmla="*/ 680 w 10000"/>
              <a:gd name="connsiteY79" fmla="*/ 2742 h 10000"/>
              <a:gd name="connsiteX80" fmla="*/ 590 w 10000"/>
              <a:gd name="connsiteY80" fmla="*/ 2649 h 10000"/>
              <a:gd name="connsiteX81" fmla="*/ 504 w 10000"/>
              <a:gd name="connsiteY81" fmla="*/ 2557 h 10000"/>
              <a:gd name="connsiteX82" fmla="*/ 423 w 10000"/>
              <a:gd name="connsiteY82" fmla="*/ 2459 h 10000"/>
              <a:gd name="connsiteX83" fmla="*/ 356 w 10000"/>
              <a:gd name="connsiteY83" fmla="*/ 2362 h 10000"/>
              <a:gd name="connsiteX84" fmla="*/ 288 w 10000"/>
              <a:gd name="connsiteY84" fmla="*/ 2260 h 10000"/>
              <a:gd name="connsiteX85" fmla="*/ 230 w 10000"/>
              <a:gd name="connsiteY85" fmla="*/ 2154 h 10000"/>
              <a:gd name="connsiteX86" fmla="*/ 180 w 10000"/>
              <a:gd name="connsiteY86" fmla="*/ 2047 h 10000"/>
              <a:gd name="connsiteX87" fmla="*/ 131 w 10000"/>
              <a:gd name="connsiteY87" fmla="*/ 1941 h 10000"/>
              <a:gd name="connsiteX88" fmla="*/ 95 w 10000"/>
              <a:gd name="connsiteY88" fmla="*/ 1830 h 10000"/>
              <a:gd name="connsiteX89" fmla="*/ 63 w 10000"/>
              <a:gd name="connsiteY89" fmla="*/ 1714 h 10000"/>
              <a:gd name="connsiteX90" fmla="*/ 36 w 10000"/>
              <a:gd name="connsiteY90" fmla="*/ 1593 h 10000"/>
              <a:gd name="connsiteX91" fmla="*/ 18 w 10000"/>
              <a:gd name="connsiteY91" fmla="*/ 1473 h 10000"/>
              <a:gd name="connsiteX92" fmla="*/ 5 w 10000"/>
              <a:gd name="connsiteY92" fmla="*/ 1352 h 10000"/>
              <a:gd name="connsiteX93" fmla="*/ 0 w 10000"/>
              <a:gd name="connsiteY93" fmla="*/ 1227 h 10000"/>
              <a:gd name="connsiteX94" fmla="*/ 0 w 10000"/>
              <a:gd name="connsiteY94" fmla="*/ 1098 h 10000"/>
              <a:gd name="connsiteX95" fmla="*/ 9 w 10000"/>
              <a:gd name="connsiteY95" fmla="*/ 968 h 10000"/>
              <a:gd name="connsiteX96" fmla="*/ 9 w 10000"/>
              <a:gd name="connsiteY96" fmla="*/ 968 h 10000"/>
              <a:gd name="connsiteX97" fmla="*/ 23 w 10000"/>
              <a:gd name="connsiteY97" fmla="*/ 848 h 10000"/>
              <a:gd name="connsiteX98" fmla="*/ 41 w 10000"/>
              <a:gd name="connsiteY98" fmla="*/ 727 h 10000"/>
              <a:gd name="connsiteX99" fmla="*/ 68 w 10000"/>
              <a:gd name="connsiteY99" fmla="*/ 607 h 10000"/>
              <a:gd name="connsiteX100" fmla="*/ 95 w 10000"/>
              <a:gd name="connsiteY100" fmla="*/ 491 h 10000"/>
              <a:gd name="connsiteX101" fmla="*/ 131 w 10000"/>
              <a:gd name="connsiteY101" fmla="*/ 375 h 10000"/>
              <a:gd name="connsiteX102" fmla="*/ 171 w 10000"/>
              <a:gd name="connsiteY102" fmla="*/ 259 h 10000"/>
              <a:gd name="connsiteX103" fmla="*/ 212 w 10000"/>
              <a:gd name="connsiteY103" fmla="*/ 148 h 10000"/>
              <a:gd name="connsiteX104" fmla="*/ 266 w 10000"/>
              <a:gd name="connsiteY104" fmla="*/ 37 h 10000"/>
              <a:gd name="connsiteX105" fmla="*/ 266 w 10000"/>
              <a:gd name="connsiteY105" fmla="*/ 37 h 10000"/>
              <a:gd name="connsiteX106" fmla="*/ 275 w 10000"/>
              <a:gd name="connsiteY106" fmla="*/ 0 h 10000"/>
              <a:gd name="connsiteX107" fmla="*/ 275 w 10000"/>
              <a:gd name="connsiteY107" fmla="*/ 0 h 10000"/>
              <a:gd name="connsiteX0" fmla="*/ 275 w 10000"/>
              <a:gd name="connsiteY0" fmla="*/ 0 h 10000"/>
              <a:gd name="connsiteX1" fmla="*/ 275 w 10000"/>
              <a:gd name="connsiteY1" fmla="*/ 0 h 10000"/>
              <a:gd name="connsiteX2" fmla="*/ 5308 w 10000"/>
              <a:gd name="connsiteY2" fmla="*/ 0 h 10000"/>
              <a:gd name="connsiteX3" fmla="*/ 10000 w 10000"/>
              <a:gd name="connsiteY3" fmla="*/ 9893 h 10000"/>
              <a:gd name="connsiteX4" fmla="*/ 10000 w 10000"/>
              <a:gd name="connsiteY4" fmla="*/ 9893 h 10000"/>
              <a:gd name="connsiteX5" fmla="*/ 10000 w 10000"/>
              <a:gd name="connsiteY5" fmla="*/ 9940 h 10000"/>
              <a:gd name="connsiteX6" fmla="*/ 10000 w 10000"/>
              <a:gd name="connsiteY6" fmla="*/ 9940 h 10000"/>
              <a:gd name="connsiteX7" fmla="*/ 10000 w 10000"/>
              <a:gd name="connsiteY7" fmla="*/ 9958 h 10000"/>
              <a:gd name="connsiteX8" fmla="*/ 9991 w 10000"/>
              <a:gd name="connsiteY8" fmla="*/ 9972 h 10000"/>
              <a:gd name="connsiteX9" fmla="*/ 9982 w 10000"/>
              <a:gd name="connsiteY9" fmla="*/ 9981 h 10000"/>
              <a:gd name="connsiteX10" fmla="*/ 9959 w 10000"/>
              <a:gd name="connsiteY10" fmla="*/ 9991 h 10000"/>
              <a:gd name="connsiteX11" fmla="*/ 9959 w 10000"/>
              <a:gd name="connsiteY11" fmla="*/ 9991 h 10000"/>
              <a:gd name="connsiteX12" fmla="*/ 9905 w 10000"/>
              <a:gd name="connsiteY12" fmla="*/ 9995 h 10000"/>
              <a:gd name="connsiteX13" fmla="*/ 9847 w 10000"/>
              <a:gd name="connsiteY13" fmla="*/ 10000 h 10000"/>
              <a:gd name="connsiteX14" fmla="*/ 9734 w 10000"/>
              <a:gd name="connsiteY14" fmla="*/ 10000 h 10000"/>
              <a:gd name="connsiteX15" fmla="*/ 7052 w 10000"/>
              <a:gd name="connsiteY15" fmla="*/ 8902 h 10000"/>
              <a:gd name="connsiteX16" fmla="*/ 6805 w 10000"/>
              <a:gd name="connsiteY16" fmla="*/ 8736 h 10000"/>
              <a:gd name="connsiteX17" fmla="*/ 6562 w 10000"/>
              <a:gd name="connsiteY17" fmla="*/ 8564 h 10000"/>
              <a:gd name="connsiteX18" fmla="*/ 6319 w 10000"/>
              <a:gd name="connsiteY18" fmla="*/ 8388 h 10000"/>
              <a:gd name="connsiteX19" fmla="*/ 6085 w 10000"/>
              <a:gd name="connsiteY19" fmla="*/ 8208 h 10000"/>
              <a:gd name="connsiteX20" fmla="*/ 5851 w 10000"/>
              <a:gd name="connsiteY20" fmla="*/ 8022 h 10000"/>
              <a:gd name="connsiteX21" fmla="*/ 5621 w 10000"/>
              <a:gd name="connsiteY21" fmla="*/ 7832 h 10000"/>
              <a:gd name="connsiteX22" fmla="*/ 5392 w 10000"/>
              <a:gd name="connsiteY22" fmla="*/ 7642 h 10000"/>
              <a:gd name="connsiteX23" fmla="*/ 5167 w 10000"/>
              <a:gd name="connsiteY23" fmla="*/ 7443 h 10000"/>
              <a:gd name="connsiteX24" fmla="*/ 5167 w 10000"/>
              <a:gd name="connsiteY24" fmla="*/ 7443 h 10000"/>
              <a:gd name="connsiteX25" fmla="*/ 4905 w 10000"/>
              <a:gd name="connsiteY25" fmla="*/ 7216 h 10000"/>
              <a:gd name="connsiteX26" fmla="*/ 4905 w 10000"/>
              <a:gd name="connsiteY26" fmla="*/ 7216 h 10000"/>
              <a:gd name="connsiteX27" fmla="*/ 4995 w 10000"/>
              <a:gd name="connsiteY27" fmla="*/ 7040 h 10000"/>
              <a:gd name="connsiteX28" fmla="*/ 5077 w 10000"/>
              <a:gd name="connsiteY28" fmla="*/ 6864 h 10000"/>
              <a:gd name="connsiteX29" fmla="*/ 5077 w 10000"/>
              <a:gd name="connsiteY29" fmla="*/ 6864 h 10000"/>
              <a:gd name="connsiteX30" fmla="*/ 5113 w 10000"/>
              <a:gd name="connsiteY30" fmla="*/ 6781 h 10000"/>
              <a:gd name="connsiteX31" fmla="*/ 5144 w 10000"/>
              <a:gd name="connsiteY31" fmla="*/ 6693 h 10000"/>
              <a:gd name="connsiteX32" fmla="*/ 5176 w 10000"/>
              <a:gd name="connsiteY32" fmla="*/ 6605 h 10000"/>
              <a:gd name="connsiteX33" fmla="*/ 5203 w 10000"/>
              <a:gd name="connsiteY33" fmla="*/ 6517 h 10000"/>
              <a:gd name="connsiteX34" fmla="*/ 5225 w 10000"/>
              <a:gd name="connsiteY34" fmla="*/ 6424 h 10000"/>
              <a:gd name="connsiteX35" fmla="*/ 5243 w 10000"/>
              <a:gd name="connsiteY35" fmla="*/ 6336 h 10000"/>
              <a:gd name="connsiteX36" fmla="*/ 5252 w 10000"/>
              <a:gd name="connsiteY36" fmla="*/ 6244 h 10000"/>
              <a:gd name="connsiteX37" fmla="*/ 5261 w 10000"/>
              <a:gd name="connsiteY37" fmla="*/ 6146 h 10000"/>
              <a:gd name="connsiteX38" fmla="*/ 5261 w 10000"/>
              <a:gd name="connsiteY38" fmla="*/ 6146 h 10000"/>
              <a:gd name="connsiteX39" fmla="*/ 5266 w 10000"/>
              <a:gd name="connsiteY39" fmla="*/ 6040 h 10000"/>
              <a:gd name="connsiteX40" fmla="*/ 5257 w 10000"/>
              <a:gd name="connsiteY40" fmla="*/ 5933 h 10000"/>
              <a:gd name="connsiteX41" fmla="*/ 5243 w 10000"/>
              <a:gd name="connsiteY41" fmla="*/ 5831 h 10000"/>
              <a:gd name="connsiteX42" fmla="*/ 5221 w 10000"/>
              <a:gd name="connsiteY42" fmla="*/ 5730 h 10000"/>
              <a:gd name="connsiteX43" fmla="*/ 5189 w 10000"/>
              <a:gd name="connsiteY43" fmla="*/ 5632 h 10000"/>
              <a:gd name="connsiteX44" fmla="*/ 5149 w 10000"/>
              <a:gd name="connsiteY44" fmla="*/ 5535 h 10000"/>
              <a:gd name="connsiteX45" fmla="*/ 5099 w 10000"/>
              <a:gd name="connsiteY45" fmla="*/ 5442 h 10000"/>
              <a:gd name="connsiteX46" fmla="*/ 5045 w 10000"/>
              <a:gd name="connsiteY46" fmla="*/ 5350 h 10000"/>
              <a:gd name="connsiteX47" fmla="*/ 5045 w 10000"/>
              <a:gd name="connsiteY47" fmla="*/ 5350 h 10000"/>
              <a:gd name="connsiteX48" fmla="*/ 4986 w 10000"/>
              <a:gd name="connsiteY48" fmla="*/ 5266 h 10000"/>
              <a:gd name="connsiteX49" fmla="*/ 4923 w 10000"/>
              <a:gd name="connsiteY49" fmla="*/ 5183 h 10000"/>
              <a:gd name="connsiteX50" fmla="*/ 4856 w 10000"/>
              <a:gd name="connsiteY50" fmla="*/ 5109 h 10000"/>
              <a:gd name="connsiteX51" fmla="*/ 4784 w 10000"/>
              <a:gd name="connsiteY51" fmla="*/ 5035 h 10000"/>
              <a:gd name="connsiteX52" fmla="*/ 4707 w 10000"/>
              <a:gd name="connsiteY52" fmla="*/ 4965 h 10000"/>
              <a:gd name="connsiteX53" fmla="*/ 4631 w 10000"/>
              <a:gd name="connsiteY53" fmla="*/ 4900 h 10000"/>
              <a:gd name="connsiteX54" fmla="*/ 4550 w 10000"/>
              <a:gd name="connsiteY54" fmla="*/ 4836 h 10000"/>
              <a:gd name="connsiteX55" fmla="*/ 4469 w 10000"/>
              <a:gd name="connsiteY55" fmla="*/ 4775 h 10000"/>
              <a:gd name="connsiteX56" fmla="*/ 4469 w 10000"/>
              <a:gd name="connsiteY56" fmla="*/ 4775 h 10000"/>
              <a:gd name="connsiteX57" fmla="*/ 4347 w 10000"/>
              <a:gd name="connsiteY57" fmla="*/ 4687 h 10000"/>
              <a:gd name="connsiteX58" fmla="*/ 4226 w 10000"/>
              <a:gd name="connsiteY58" fmla="*/ 4609 h 10000"/>
              <a:gd name="connsiteX59" fmla="*/ 4104 w 10000"/>
              <a:gd name="connsiteY59" fmla="*/ 4530 h 10000"/>
              <a:gd name="connsiteX60" fmla="*/ 3978 w 10000"/>
              <a:gd name="connsiteY60" fmla="*/ 4456 h 10000"/>
              <a:gd name="connsiteX61" fmla="*/ 3852 w 10000"/>
              <a:gd name="connsiteY61" fmla="*/ 4386 h 10000"/>
              <a:gd name="connsiteX62" fmla="*/ 3722 w 10000"/>
              <a:gd name="connsiteY62" fmla="*/ 4317 h 10000"/>
              <a:gd name="connsiteX63" fmla="*/ 3591 w 10000"/>
              <a:gd name="connsiteY63" fmla="*/ 4252 h 10000"/>
              <a:gd name="connsiteX64" fmla="*/ 3461 w 10000"/>
              <a:gd name="connsiteY64" fmla="*/ 4187 h 10000"/>
              <a:gd name="connsiteX65" fmla="*/ 3461 w 10000"/>
              <a:gd name="connsiteY65" fmla="*/ 4187 h 10000"/>
              <a:gd name="connsiteX66" fmla="*/ 3029 w 10000"/>
              <a:gd name="connsiteY66" fmla="*/ 3993 h 10000"/>
              <a:gd name="connsiteX67" fmla="*/ 2601 w 10000"/>
              <a:gd name="connsiteY67" fmla="*/ 3798 h 10000"/>
              <a:gd name="connsiteX68" fmla="*/ 1742 w 10000"/>
              <a:gd name="connsiteY68" fmla="*/ 3414 h 10000"/>
              <a:gd name="connsiteX69" fmla="*/ 1742 w 10000"/>
              <a:gd name="connsiteY69" fmla="*/ 3414 h 10000"/>
              <a:gd name="connsiteX70" fmla="*/ 1598 w 10000"/>
              <a:gd name="connsiteY70" fmla="*/ 3349 h 10000"/>
              <a:gd name="connsiteX71" fmla="*/ 1454 w 10000"/>
              <a:gd name="connsiteY71" fmla="*/ 3279 h 10000"/>
              <a:gd name="connsiteX72" fmla="*/ 1314 w 10000"/>
              <a:gd name="connsiteY72" fmla="*/ 3205 h 10000"/>
              <a:gd name="connsiteX73" fmla="*/ 1179 w 10000"/>
              <a:gd name="connsiteY73" fmla="*/ 3126 h 10000"/>
              <a:gd name="connsiteX74" fmla="*/ 1049 w 10000"/>
              <a:gd name="connsiteY74" fmla="*/ 3038 h 10000"/>
              <a:gd name="connsiteX75" fmla="*/ 923 w 10000"/>
              <a:gd name="connsiteY75" fmla="*/ 2946 h 10000"/>
              <a:gd name="connsiteX76" fmla="*/ 797 w 10000"/>
              <a:gd name="connsiteY76" fmla="*/ 2849 h 10000"/>
              <a:gd name="connsiteX77" fmla="*/ 680 w 10000"/>
              <a:gd name="connsiteY77" fmla="*/ 2742 h 10000"/>
              <a:gd name="connsiteX78" fmla="*/ 680 w 10000"/>
              <a:gd name="connsiteY78" fmla="*/ 2742 h 10000"/>
              <a:gd name="connsiteX79" fmla="*/ 590 w 10000"/>
              <a:gd name="connsiteY79" fmla="*/ 2649 h 10000"/>
              <a:gd name="connsiteX80" fmla="*/ 504 w 10000"/>
              <a:gd name="connsiteY80" fmla="*/ 2557 h 10000"/>
              <a:gd name="connsiteX81" fmla="*/ 423 w 10000"/>
              <a:gd name="connsiteY81" fmla="*/ 2459 h 10000"/>
              <a:gd name="connsiteX82" fmla="*/ 356 w 10000"/>
              <a:gd name="connsiteY82" fmla="*/ 2362 h 10000"/>
              <a:gd name="connsiteX83" fmla="*/ 288 w 10000"/>
              <a:gd name="connsiteY83" fmla="*/ 2260 h 10000"/>
              <a:gd name="connsiteX84" fmla="*/ 230 w 10000"/>
              <a:gd name="connsiteY84" fmla="*/ 2154 h 10000"/>
              <a:gd name="connsiteX85" fmla="*/ 180 w 10000"/>
              <a:gd name="connsiteY85" fmla="*/ 2047 h 10000"/>
              <a:gd name="connsiteX86" fmla="*/ 131 w 10000"/>
              <a:gd name="connsiteY86" fmla="*/ 1941 h 10000"/>
              <a:gd name="connsiteX87" fmla="*/ 95 w 10000"/>
              <a:gd name="connsiteY87" fmla="*/ 1830 h 10000"/>
              <a:gd name="connsiteX88" fmla="*/ 63 w 10000"/>
              <a:gd name="connsiteY88" fmla="*/ 1714 h 10000"/>
              <a:gd name="connsiteX89" fmla="*/ 36 w 10000"/>
              <a:gd name="connsiteY89" fmla="*/ 1593 h 10000"/>
              <a:gd name="connsiteX90" fmla="*/ 18 w 10000"/>
              <a:gd name="connsiteY90" fmla="*/ 1473 h 10000"/>
              <a:gd name="connsiteX91" fmla="*/ 5 w 10000"/>
              <a:gd name="connsiteY91" fmla="*/ 1352 h 10000"/>
              <a:gd name="connsiteX92" fmla="*/ 0 w 10000"/>
              <a:gd name="connsiteY92" fmla="*/ 1227 h 10000"/>
              <a:gd name="connsiteX93" fmla="*/ 0 w 10000"/>
              <a:gd name="connsiteY93" fmla="*/ 1098 h 10000"/>
              <a:gd name="connsiteX94" fmla="*/ 9 w 10000"/>
              <a:gd name="connsiteY94" fmla="*/ 968 h 10000"/>
              <a:gd name="connsiteX95" fmla="*/ 9 w 10000"/>
              <a:gd name="connsiteY95" fmla="*/ 968 h 10000"/>
              <a:gd name="connsiteX96" fmla="*/ 23 w 10000"/>
              <a:gd name="connsiteY96" fmla="*/ 848 h 10000"/>
              <a:gd name="connsiteX97" fmla="*/ 41 w 10000"/>
              <a:gd name="connsiteY97" fmla="*/ 727 h 10000"/>
              <a:gd name="connsiteX98" fmla="*/ 68 w 10000"/>
              <a:gd name="connsiteY98" fmla="*/ 607 h 10000"/>
              <a:gd name="connsiteX99" fmla="*/ 95 w 10000"/>
              <a:gd name="connsiteY99" fmla="*/ 491 h 10000"/>
              <a:gd name="connsiteX100" fmla="*/ 131 w 10000"/>
              <a:gd name="connsiteY100" fmla="*/ 375 h 10000"/>
              <a:gd name="connsiteX101" fmla="*/ 171 w 10000"/>
              <a:gd name="connsiteY101" fmla="*/ 259 h 10000"/>
              <a:gd name="connsiteX102" fmla="*/ 212 w 10000"/>
              <a:gd name="connsiteY102" fmla="*/ 148 h 10000"/>
              <a:gd name="connsiteX103" fmla="*/ 266 w 10000"/>
              <a:gd name="connsiteY103" fmla="*/ 37 h 10000"/>
              <a:gd name="connsiteX104" fmla="*/ 266 w 10000"/>
              <a:gd name="connsiteY104" fmla="*/ 37 h 10000"/>
              <a:gd name="connsiteX105" fmla="*/ 275 w 10000"/>
              <a:gd name="connsiteY105" fmla="*/ 0 h 10000"/>
              <a:gd name="connsiteX106" fmla="*/ 275 w 10000"/>
              <a:gd name="connsiteY106" fmla="*/ 0 h 10000"/>
              <a:gd name="connsiteX0" fmla="*/ 275 w 10000"/>
              <a:gd name="connsiteY0" fmla="*/ 0 h 10000"/>
              <a:gd name="connsiteX1" fmla="*/ 275 w 10000"/>
              <a:gd name="connsiteY1" fmla="*/ 0 h 10000"/>
              <a:gd name="connsiteX2" fmla="*/ 6380 w 10000"/>
              <a:gd name="connsiteY2" fmla="*/ 0 h 10000"/>
              <a:gd name="connsiteX3" fmla="*/ 10000 w 10000"/>
              <a:gd name="connsiteY3" fmla="*/ 9893 h 10000"/>
              <a:gd name="connsiteX4" fmla="*/ 10000 w 10000"/>
              <a:gd name="connsiteY4" fmla="*/ 9893 h 10000"/>
              <a:gd name="connsiteX5" fmla="*/ 10000 w 10000"/>
              <a:gd name="connsiteY5" fmla="*/ 9940 h 10000"/>
              <a:gd name="connsiteX6" fmla="*/ 10000 w 10000"/>
              <a:gd name="connsiteY6" fmla="*/ 9940 h 10000"/>
              <a:gd name="connsiteX7" fmla="*/ 10000 w 10000"/>
              <a:gd name="connsiteY7" fmla="*/ 9958 h 10000"/>
              <a:gd name="connsiteX8" fmla="*/ 9991 w 10000"/>
              <a:gd name="connsiteY8" fmla="*/ 9972 h 10000"/>
              <a:gd name="connsiteX9" fmla="*/ 9982 w 10000"/>
              <a:gd name="connsiteY9" fmla="*/ 9981 h 10000"/>
              <a:gd name="connsiteX10" fmla="*/ 9959 w 10000"/>
              <a:gd name="connsiteY10" fmla="*/ 9991 h 10000"/>
              <a:gd name="connsiteX11" fmla="*/ 9959 w 10000"/>
              <a:gd name="connsiteY11" fmla="*/ 9991 h 10000"/>
              <a:gd name="connsiteX12" fmla="*/ 9905 w 10000"/>
              <a:gd name="connsiteY12" fmla="*/ 9995 h 10000"/>
              <a:gd name="connsiteX13" fmla="*/ 9847 w 10000"/>
              <a:gd name="connsiteY13" fmla="*/ 10000 h 10000"/>
              <a:gd name="connsiteX14" fmla="*/ 9734 w 10000"/>
              <a:gd name="connsiteY14" fmla="*/ 10000 h 10000"/>
              <a:gd name="connsiteX15" fmla="*/ 7052 w 10000"/>
              <a:gd name="connsiteY15" fmla="*/ 8902 h 10000"/>
              <a:gd name="connsiteX16" fmla="*/ 6805 w 10000"/>
              <a:gd name="connsiteY16" fmla="*/ 8736 h 10000"/>
              <a:gd name="connsiteX17" fmla="*/ 6562 w 10000"/>
              <a:gd name="connsiteY17" fmla="*/ 8564 h 10000"/>
              <a:gd name="connsiteX18" fmla="*/ 6319 w 10000"/>
              <a:gd name="connsiteY18" fmla="*/ 8388 h 10000"/>
              <a:gd name="connsiteX19" fmla="*/ 6085 w 10000"/>
              <a:gd name="connsiteY19" fmla="*/ 8208 h 10000"/>
              <a:gd name="connsiteX20" fmla="*/ 5851 w 10000"/>
              <a:gd name="connsiteY20" fmla="*/ 8022 h 10000"/>
              <a:gd name="connsiteX21" fmla="*/ 5621 w 10000"/>
              <a:gd name="connsiteY21" fmla="*/ 7832 h 10000"/>
              <a:gd name="connsiteX22" fmla="*/ 5392 w 10000"/>
              <a:gd name="connsiteY22" fmla="*/ 7642 h 10000"/>
              <a:gd name="connsiteX23" fmla="*/ 5167 w 10000"/>
              <a:gd name="connsiteY23" fmla="*/ 7443 h 10000"/>
              <a:gd name="connsiteX24" fmla="*/ 5167 w 10000"/>
              <a:gd name="connsiteY24" fmla="*/ 7443 h 10000"/>
              <a:gd name="connsiteX25" fmla="*/ 4905 w 10000"/>
              <a:gd name="connsiteY25" fmla="*/ 7216 h 10000"/>
              <a:gd name="connsiteX26" fmla="*/ 4905 w 10000"/>
              <a:gd name="connsiteY26" fmla="*/ 7216 h 10000"/>
              <a:gd name="connsiteX27" fmla="*/ 4995 w 10000"/>
              <a:gd name="connsiteY27" fmla="*/ 7040 h 10000"/>
              <a:gd name="connsiteX28" fmla="*/ 5077 w 10000"/>
              <a:gd name="connsiteY28" fmla="*/ 6864 h 10000"/>
              <a:gd name="connsiteX29" fmla="*/ 5077 w 10000"/>
              <a:gd name="connsiteY29" fmla="*/ 6864 h 10000"/>
              <a:gd name="connsiteX30" fmla="*/ 5113 w 10000"/>
              <a:gd name="connsiteY30" fmla="*/ 6781 h 10000"/>
              <a:gd name="connsiteX31" fmla="*/ 5144 w 10000"/>
              <a:gd name="connsiteY31" fmla="*/ 6693 h 10000"/>
              <a:gd name="connsiteX32" fmla="*/ 5176 w 10000"/>
              <a:gd name="connsiteY32" fmla="*/ 6605 h 10000"/>
              <a:gd name="connsiteX33" fmla="*/ 5203 w 10000"/>
              <a:gd name="connsiteY33" fmla="*/ 6517 h 10000"/>
              <a:gd name="connsiteX34" fmla="*/ 5225 w 10000"/>
              <a:gd name="connsiteY34" fmla="*/ 6424 h 10000"/>
              <a:gd name="connsiteX35" fmla="*/ 5243 w 10000"/>
              <a:gd name="connsiteY35" fmla="*/ 6336 h 10000"/>
              <a:gd name="connsiteX36" fmla="*/ 5252 w 10000"/>
              <a:gd name="connsiteY36" fmla="*/ 6244 h 10000"/>
              <a:gd name="connsiteX37" fmla="*/ 5261 w 10000"/>
              <a:gd name="connsiteY37" fmla="*/ 6146 h 10000"/>
              <a:gd name="connsiteX38" fmla="*/ 5261 w 10000"/>
              <a:gd name="connsiteY38" fmla="*/ 6146 h 10000"/>
              <a:gd name="connsiteX39" fmla="*/ 5266 w 10000"/>
              <a:gd name="connsiteY39" fmla="*/ 6040 h 10000"/>
              <a:gd name="connsiteX40" fmla="*/ 5257 w 10000"/>
              <a:gd name="connsiteY40" fmla="*/ 5933 h 10000"/>
              <a:gd name="connsiteX41" fmla="*/ 5243 w 10000"/>
              <a:gd name="connsiteY41" fmla="*/ 5831 h 10000"/>
              <a:gd name="connsiteX42" fmla="*/ 5221 w 10000"/>
              <a:gd name="connsiteY42" fmla="*/ 5730 h 10000"/>
              <a:gd name="connsiteX43" fmla="*/ 5189 w 10000"/>
              <a:gd name="connsiteY43" fmla="*/ 5632 h 10000"/>
              <a:gd name="connsiteX44" fmla="*/ 5149 w 10000"/>
              <a:gd name="connsiteY44" fmla="*/ 5535 h 10000"/>
              <a:gd name="connsiteX45" fmla="*/ 5099 w 10000"/>
              <a:gd name="connsiteY45" fmla="*/ 5442 h 10000"/>
              <a:gd name="connsiteX46" fmla="*/ 5045 w 10000"/>
              <a:gd name="connsiteY46" fmla="*/ 5350 h 10000"/>
              <a:gd name="connsiteX47" fmla="*/ 5045 w 10000"/>
              <a:gd name="connsiteY47" fmla="*/ 5350 h 10000"/>
              <a:gd name="connsiteX48" fmla="*/ 4986 w 10000"/>
              <a:gd name="connsiteY48" fmla="*/ 5266 h 10000"/>
              <a:gd name="connsiteX49" fmla="*/ 4923 w 10000"/>
              <a:gd name="connsiteY49" fmla="*/ 5183 h 10000"/>
              <a:gd name="connsiteX50" fmla="*/ 4856 w 10000"/>
              <a:gd name="connsiteY50" fmla="*/ 5109 h 10000"/>
              <a:gd name="connsiteX51" fmla="*/ 4784 w 10000"/>
              <a:gd name="connsiteY51" fmla="*/ 5035 h 10000"/>
              <a:gd name="connsiteX52" fmla="*/ 4707 w 10000"/>
              <a:gd name="connsiteY52" fmla="*/ 4965 h 10000"/>
              <a:gd name="connsiteX53" fmla="*/ 4631 w 10000"/>
              <a:gd name="connsiteY53" fmla="*/ 4900 h 10000"/>
              <a:gd name="connsiteX54" fmla="*/ 4550 w 10000"/>
              <a:gd name="connsiteY54" fmla="*/ 4836 h 10000"/>
              <a:gd name="connsiteX55" fmla="*/ 4469 w 10000"/>
              <a:gd name="connsiteY55" fmla="*/ 4775 h 10000"/>
              <a:gd name="connsiteX56" fmla="*/ 4469 w 10000"/>
              <a:gd name="connsiteY56" fmla="*/ 4775 h 10000"/>
              <a:gd name="connsiteX57" fmla="*/ 4347 w 10000"/>
              <a:gd name="connsiteY57" fmla="*/ 4687 h 10000"/>
              <a:gd name="connsiteX58" fmla="*/ 4226 w 10000"/>
              <a:gd name="connsiteY58" fmla="*/ 4609 h 10000"/>
              <a:gd name="connsiteX59" fmla="*/ 4104 w 10000"/>
              <a:gd name="connsiteY59" fmla="*/ 4530 h 10000"/>
              <a:gd name="connsiteX60" fmla="*/ 3978 w 10000"/>
              <a:gd name="connsiteY60" fmla="*/ 4456 h 10000"/>
              <a:gd name="connsiteX61" fmla="*/ 3852 w 10000"/>
              <a:gd name="connsiteY61" fmla="*/ 4386 h 10000"/>
              <a:gd name="connsiteX62" fmla="*/ 3722 w 10000"/>
              <a:gd name="connsiteY62" fmla="*/ 4317 h 10000"/>
              <a:gd name="connsiteX63" fmla="*/ 3591 w 10000"/>
              <a:gd name="connsiteY63" fmla="*/ 4252 h 10000"/>
              <a:gd name="connsiteX64" fmla="*/ 3461 w 10000"/>
              <a:gd name="connsiteY64" fmla="*/ 4187 h 10000"/>
              <a:gd name="connsiteX65" fmla="*/ 3461 w 10000"/>
              <a:gd name="connsiteY65" fmla="*/ 4187 h 10000"/>
              <a:gd name="connsiteX66" fmla="*/ 3029 w 10000"/>
              <a:gd name="connsiteY66" fmla="*/ 3993 h 10000"/>
              <a:gd name="connsiteX67" fmla="*/ 2601 w 10000"/>
              <a:gd name="connsiteY67" fmla="*/ 3798 h 10000"/>
              <a:gd name="connsiteX68" fmla="*/ 1742 w 10000"/>
              <a:gd name="connsiteY68" fmla="*/ 3414 h 10000"/>
              <a:gd name="connsiteX69" fmla="*/ 1742 w 10000"/>
              <a:gd name="connsiteY69" fmla="*/ 3414 h 10000"/>
              <a:gd name="connsiteX70" fmla="*/ 1598 w 10000"/>
              <a:gd name="connsiteY70" fmla="*/ 3349 h 10000"/>
              <a:gd name="connsiteX71" fmla="*/ 1454 w 10000"/>
              <a:gd name="connsiteY71" fmla="*/ 3279 h 10000"/>
              <a:gd name="connsiteX72" fmla="*/ 1314 w 10000"/>
              <a:gd name="connsiteY72" fmla="*/ 3205 h 10000"/>
              <a:gd name="connsiteX73" fmla="*/ 1179 w 10000"/>
              <a:gd name="connsiteY73" fmla="*/ 3126 h 10000"/>
              <a:gd name="connsiteX74" fmla="*/ 1049 w 10000"/>
              <a:gd name="connsiteY74" fmla="*/ 3038 h 10000"/>
              <a:gd name="connsiteX75" fmla="*/ 923 w 10000"/>
              <a:gd name="connsiteY75" fmla="*/ 2946 h 10000"/>
              <a:gd name="connsiteX76" fmla="*/ 797 w 10000"/>
              <a:gd name="connsiteY76" fmla="*/ 2849 h 10000"/>
              <a:gd name="connsiteX77" fmla="*/ 680 w 10000"/>
              <a:gd name="connsiteY77" fmla="*/ 2742 h 10000"/>
              <a:gd name="connsiteX78" fmla="*/ 680 w 10000"/>
              <a:gd name="connsiteY78" fmla="*/ 2742 h 10000"/>
              <a:gd name="connsiteX79" fmla="*/ 590 w 10000"/>
              <a:gd name="connsiteY79" fmla="*/ 2649 h 10000"/>
              <a:gd name="connsiteX80" fmla="*/ 504 w 10000"/>
              <a:gd name="connsiteY80" fmla="*/ 2557 h 10000"/>
              <a:gd name="connsiteX81" fmla="*/ 423 w 10000"/>
              <a:gd name="connsiteY81" fmla="*/ 2459 h 10000"/>
              <a:gd name="connsiteX82" fmla="*/ 356 w 10000"/>
              <a:gd name="connsiteY82" fmla="*/ 2362 h 10000"/>
              <a:gd name="connsiteX83" fmla="*/ 288 w 10000"/>
              <a:gd name="connsiteY83" fmla="*/ 2260 h 10000"/>
              <a:gd name="connsiteX84" fmla="*/ 230 w 10000"/>
              <a:gd name="connsiteY84" fmla="*/ 2154 h 10000"/>
              <a:gd name="connsiteX85" fmla="*/ 180 w 10000"/>
              <a:gd name="connsiteY85" fmla="*/ 2047 h 10000"/>
              <a:gd name="connsiteX86" fmla="*/ 131 w 10000"/>
              <a:gd name="connsiteY86" fmla="*/ 1941 h 10000"/>
              <a:gd name="connsiteX87" fmla="*/ 95 w 10000"/>
              <a:gd name="connsiteY87" fmla="*/ 1830 h 10000"/>
              <a:gd name="connsiteX88" fmla="*/ 63 w 10000"/>
              <a:gd name="connsiteY88" fmla="*/ 1714 h 10000"/>
              <a:gd name="connsiteX89" fmla="*/ 36 w 10000"/>
              <a:gd name="connsiteY89" fmla="*/ 1593 h 10000"/>
              <a:gd name="connsiteX90" fmla="*/ 18 w 10000"/>
              <a:gd name="connsiteY90" fmla="*/ 1473 h 10000"/>
              <a:gd name="connsiteX91" fmla="*/ 5 w 10000"/>
              <a:gd name="connsiteY91" fmla="*/ 1352 h 10000"/>
              <a:gd name="connsiteX92" fmla="*/ 0 w 10000"/>
              <a:gd name="connsiteY92" fmla="*/ 1227 h 10000"/>
              <a:gd name="connsiteX93" fmla="*/ 0 w 10000"/>
              <a:gd name="connsiteY93" fmla="*/ 1098 h 10000"/>
              <a:gd name="connsiteX94" fmla="*/ 9 w 10000"/>
              <a:gd name="connsiteY94" fmla="*/ 968 h 10000"/>
              <a:gd name="connsiteX95" fmla="*/ 9 w 10000"/>
              <a:gd name="connsiteY95" fmla="*/ 968 h 10000"/>
              <a:gd name="connsiteX96" fmla="*/ 23 w 10000"/>
              <a:gd name="connsiteY96" fmla="*/ 848 h 10000"/>
              <a:gd name="connsiteX97" fmla="*/ 41 w 10000"/>
              <a:gd name="connsiteY97" fmla="*/ 727 h 10000"/>
              <a:gd name="connsiteX98" fmla="*/ 68 w 10000"/>
              <a:gd name="connsiteY98" fmla="*/ 607 h 10000"/>
              <a:gd name="connsiteX99" fmla="*/ 95 w 10000"/>
              <a:gd name="connsiteY99" fmla="*/ 491 h 10000"/>
              <a:gd name="connsiteX100" fmla="*/ 131 w 10000"/>
              <a:gd name="connsiteY100" fmla="*/ 375 h 10000"/>
              <a:gd name="connsiteX101" fmla="*/ 171 w 10000"/>
              <a:gd name="connsiteY101" fmla="*/ 259 h 10000"/>
              <a:gd name="connsiteX102" fmla="*/ 212 w 10000"/>
              <a:gd name="connsiteY102" fmla="*/ 148 h 10000"/>
              <a:gd name="connsiteX103" fmla="*/ 266 w 10000"/>
              <a:gd name="connsiteY103" fmla="*/ 37 h 10000"/>
              <a:gd name="connsiteX104" fmla="*/ 266 w 10000"/>
              <a:gd name="connsiteY104" fmla="*/ 37 h 10000"/>
              <a:gd name="connsiteX105" fmla="*/ 275 w 10000"/>
              <a:gd name="connsiteY105" fmla="*/ 0 h 10000"/>
              <a:gd name="connsiteX106" fmla="*/ 275 w 10000"/>
              <a:gd name="connsiteY106" fmla="*/ 0 h 10000"/>
              <a:gd name="connsiteX0" fmla="*/ 275 w 10000"/>
              <a:gd name="connsiteY0" fmla="*/ 0 h 10000"/>
              <a:gd name="connsiteX1" fmla="*/ 275 w 10000"/>
              <a:gd name="connsiteY1" fmla="*/ 0 h 10000"/>
              <a:gd name="connsiteX2" fmla="*/ 6380 w 10000"/>
              <a:gd name="connsiteY2" fmla="*/ 0 h 10000"/>
              <a:gd name="connsiteX3" fmla="*/ 10000 w 10000"/>
              <a:gd name="connsiteY3" fmla="*/ 9893 h 10000"/>
              <a:gd name="connsiteX4" fmla="*/ 10000 w 10000"/>
              <a:gd name="connsiteY4" fmla="*/ 9893 h 10000"/>
              <a:gd name="connsiteX5" fmla="*/ 10000 w 10000"/>
              <a:gd name="connsiteY5" fmla="*/ 9940 h 10000"/>
              <a:gd name="connsiteX6" fmla="*/ 10000 w 10000"/>
              <a:gd name="connsiteY6" fmla="*/ 9940 h 10000"/>
              <a:gd name="connsiteX7" fmla="*/ 10000 w 10000"/>
              <a:gd name="connsiteY7" fmla="*/ 9958 h 10000"/>
              <a:gd name="connsiteX8" fmla="*/ 9991 w 10000"/>
              <a:gd name="connsiteY8" fmla="*/ 9972 h 10000"/>
              <a:gd name="connsiteX9" fmla="*/ 9982 w 10000"/>
              <a:gd name="connsiteY9" fmla="*/ 9981 h 10000"/>
              <a:gd name="connsiteX10" fmla="*/ 9959 w 10000"/>
              <a:gd name="connsiteY10" fmla="*/ 9991 h 10000"/>
              <a:gd name="connsiteX11" fmla="*/ 9905 w 10000"/>
              <a:gd name="connsiteY11" fmla="*/ 9995 h 10000"/>
              <a:gd name="connsiteX12" fmla="*/ 9847 w 10000"/>
              <a:gd name="connsiteY12" fmla="*/ 10000 h 10000"/>
              <a:gd name="connsiteX13" fmla="*/ 9734 w 10000"/>
              <a:gd name="connsiteY13" fmla="*/ 10000 h 10000"/>
              <a:gd name="connsiteX14" fmla="*/ 7052 w 10000"/>
              <a:gd name="connsiteY14" fmla="*/ 8902 h 10000"/>
              <a:gd name="connsiteX15" fmla="*/ 6805 w 10000"/>
              <a:gd name="connsiteY15" fmla="*/ 8736 h 10000"/>
              <a:gd name="connsiteX16" fmla="*/ 6562 w 10000"/>
              <a:gd name="connsiteY16" fmla="*/ 8564 h 10000"/>
              <a:gd name="connsiteX17" fmla="*/ 6319 w 10000"/>
              <a:gd name="connsiteY17" fmla="*/ 8388 h 10000"/>
              <a:gd name="connsiteX18" fmla="*/ 6085 w 10000"/>
              <a:gd name="connsiteY18" fmla="*/ 8208 h 10000"/>
              <a:gd name="connsiteX19" fmla="*/ 5851 w 10000"/>
              <a:gd name="connsiteY19" fmla="*/ 8022 h 10000"/>
              <a:gd name="connsiteX20" fmla="*/ 5621 w 10000"/>
              <a:gd name="connsiteY20" fmla="*/ 7832 h 10000"/>
              <a:gd name="connsiteX21" fmla="*/ 5392 w 10000"/>
              <a:gd name="connsiteY21" fmla="*/ 7642 h 10000"/>
              <a:gd name="connsiteX22" fmla="*/ 5167 w 10000"/>
              <a:gd name="connsiteY22" fmla="*/ 7443 h 10000"/>
              <a:gd name="connsiteX23" fmla="*/ 5167 w 10000"/>
              <a:gd name="connsiteY23" fmla="*/ 7443 h 10000"/>
              <a:gd name="connsiteX24" fmla="*/ 4905 w 10000"/>
              <a:gd name="connsiteY24" fmla="*/ 7216 h 10000"/>
              <a:gd name="connsiteX25" fmla="*/ 4905 w 10000"/>
              <a:gd name="connsiteY25" fmla="*/ 7216 h 10000"/>
              <a:gd name="connsiteX26" fmla="*/ 4995 w 10000"/>
              <a:gd name="connsiteY26" fmla="*/ 7040 h 10000"/>
              <a:gd name="connsiteX27" fmla="*/ 5077 w 10000"/>
              <a:gd name="connsiteY27" fmla="*/ 6864 h 10000"/>
              <a:gd name="connsiteX28" fmla="*/ 5077 w 10000"/>
              <a:gd name="connsiteY28" fmla="*/ 6864 h 10000"/>
              <a:gd name="connsiteX29" fmla="*/ 5113 w 10000"/>
              <a:gd name="connsiteY29" fmla="*/ 6781 h 10000"/>
              <a:gd name="connsiteX30" fmla="*/ 5144 w 10000"/>
              <a:gd name="connsiteY30" fmla="*/ 6693 h 10000"/>
              <a:gd name="connsiteX31" fmla="*/ 5176 w 10000"/>
              <a:gd name="connsiteY31" fmla="*/ 6605 h 10000"/>
              <a:gd name="connsiteX32" fmla="*/ 5203 w 10000"/>
              <a:gd name="connsiteY32" fmla="*/ 6517 h 10000"/>
              <a:gd name="connsiteX33" fmla="*/ 5225 w 10000"/>
              <a:gd name="connsiteY33" fmla="*/ 6424 h 10000"/>
              <a:gd name="connsiteX34" fmla="*/ 5243 w 10000"/>
              <a:gd name="connsiteY34" fmla="*/ 6336 h 10000"/>
              <a:gd name="connsiteX35" fmla="*/ 5252 w 10000"/>
              <a:gd name="connsiteY35" fmla="*/ 6244 h 10000"/>
              <a:gd name="connsiteX36" fmla="*/ 5261 w 10000"/>
              <a:gd name="connsiteY36" fmla="*/ 6146 h 10000"/>
              <a:gd name="connsiteX37" fmla="*/ 5261 w 10000"/>
              <a:gd name="connsiteY37" fmla="*/ 6146 h 10000"/>
              <a:gd name="connsiteX38" fmla="*/ 5266 w 10000"/>
              <a:gd name="connsiteY38" fmla="*/ 6040 h 10000"/>
              <a:gd name="connsiteX39" fmla="*/ 5257 w 10000"/>
              <a:gd name="connsiteY39" fmla="*/ 5933 h 10000"/>
              <a:gd name="connsiteX40" fmla="*/ 5243 w 10000"/>
              <a:gd name="connsiteY40" fmla="*/ 5831 h 10000"/>
              <a:gd name="connsiteX41" fmla="*/ 5221 w 10000"/>
              <a:gd name="connsiteY41" fmla="*/ 5730 h 10000"/>
              <a:gd name="connsiteX42" fmla="*/ 5189 w 10000"/>
              <a:gd name="connsiteY42" fmla="*/ 5632 h 10000"/>
              <a:gd name="connsiteX43" fmla="*/ 5149 w 10000"/>
              <a:gd name="connsiteY43" fmla="*/ 5535 h 10000"/>
              <a:gd name="connsiteX44" fmla="*/ 5099 w 10000"/>
              <a:gd name="connsiteY44" fmla="*/ 5442 h 10000"/>
              <a:gd name="connsiteX45" fmla="*/ 5045 w 10000"/>
              <a:gd name="connsiteY45" fmla="*/ 5350 h 10000"/>
              <a:gd name="connsiteX46" fmla="*/ 5045 w 10000"/>
              <a:gd name="connsiteY46" fmla="*/ 5350 h 10000"/>
              <a:gd name="connsiteX47" fmla="*/ 4986 w 10000"/>
              <a:gd name="connsiteY47" fmla="*/ 5266 h 10000"/>
              <a:gd name="connsiteX48" fmla="*/ 4923 w 10000"/>
              <a:gd name="connsiteY48" fmla="*/ 5183 h 10000"/>
              <a:gd name="connsiteX49" fmla="*/ 4856 w 10000"/>
              <a:gd name="connsiteY49" fmla="*/ 5109 h 10000"/>
              <a:gd name="connsiteX50" fmla="*/ 4784 w 10000"/>
              <a:gd name="connsiteY50" fmla="*/ 5035 h 10000"/>
              <a:gd name="connsiteX51" fmla="*/ 4707 w 10000"/>
              <a:gd name="connsiteY51" fmla="*/ 4965 h 10000"/>
              <a:gd name="connsiteX52" fmla="*/ 4631 w 10000"/>
              <a:gd name="connsiteY52" fmla="*/ 4900 h 10000"/>
              <a:gd name="connsiteX53" fmla="*/ 4550 w 10000"/>
              <a:gd name="connsiteY53" fmla="*/ 4836 h 10000"/>
              <a:gd name="connsiteX54" fmla="*/ 4469 w 10000"/>
              <a:gd name="connsiteY54" fmla="*/ 4775 h 10000"/>
              <a:gd name="connsiteX55" fmla="*/ 4469 w 10000"/>
              <a:gd name="connsiteY55" fmla="*/ 4775 h 10000"/>
              <a:gd name="connsiteX56" fmla="*/ 4347 w 10000"/>
              <a:gd name="connsiteY56" fmla="*/ 4687 h 10000"/>
              <a:gd name="connsiteX57" fmla="*/ 4226 w 10000"/>
              <a:gd name="connsiteY57" fmla="*/ 4609 h 10000"/>
              <a:gd name="connsiteX58" fmla="*/ 4104 w 10000"/>
              <a:gd name="connsiteY58" fmla="*/ 4530 h 10000"/>
              <a:gd name="connsiteX59" fmla="*/ 3978 w 10000"/>
              <a:gd name="connsiteY59" fmla="*/ 4456 h 10000"/>
              <a:gd name="connsiteX60" fmla="*/ 3852 w 10000"/>
              <a:gd name="connsiteY60" fmla="*/ 4386 h 10000"/>
              <a:gd name="connsiteX61" fmla="*/ 3722 w 10000"/>
              <a:gd name="connsiteY61" fmla="*/ 4317 h 10000"/>
              <a:gd name="connsiteX62" fmla="*/ 3591 w 10000"/>
              <a:gd name="connsiteY62" fmla="*/ 4252 h 10000"/>
              <a:gd name="connsiteX63" fmla="*/ 3461 w 10000"/>
              <a:gd name="connsiteY63" fmla="*/ 4187 h 10000"/>
              <a:gd name="connsiteX64" fmla="*/ 3461 w 10000"/>
              <a:gd name="connsiteY64" fmla="*/ 4187 h 10000"/>
              <a:gd name="connsiteX65" fmla="*/ 3029 w 10000"/>
              <a:gd name="connsiteY65" fmla="*/ 3993 h 10000"/>
              <a:gd name="connsiteX66" fmla="*/ 2601 w 10000"/>
              <a:gd name="connsiteY66" fmla="*/ 3798 h 10000"/>
              <a:gd name="connsiteX67" fmla="*/ 1742 w 10000"/>
              <a:gd name="connsiteY67" fmla="*/ 3414 h 10000"/>
              <a:gd name="connsiteX68" fmla="*/ 1742 w 10000"/>
              <a:gd name="connsiteY68" fmla="*/ 3414 h 10000"/>
              <a:gd name="connsiteX69" fmla="*/ 1598 w 10000"/>
              <a:gd name="connsiteY69" fmla="*/ 3349 h 10000"/>
              <a:gd name="connsiteX70" fmla="*/ 1454 w 10000"/>
              <a:gd name="connsiteY70" fmla="*/ 3279 h 10000"/>
              <a:gd name="connsiteX71" fmla="*/ 1314 w 10000"/>
              <a:gd name="connsiteY71" fmla="*/ 3205 h 10000"/>
              <a:gd name="connsiteX72" fmla="*/ 1179 w 10000"/>
              <a:gd name="connsiteY72" fmla="*/ 3126 h 10000"/>
              <a:gd name="connsiteX73" fmla="*/ 1049 w 10000"/>
              <a:gd name="connsiteY73" fmla="*/ 3038 h 10000"/>
              <a:gd name="connsiteX74" fmla="*/ 923 w 10000"/>
              <a:gd name="connsiteY74" fmla="*/ 2946 h 10000"/>
              <a:gd name="connsiteX75" fmla="*/ 797 w 10000"/>
              <a:gd name="connsiteY75" fmla="*/ 2849 h 10000"/>
              <a:gd name="connsiteX76" fmla="*/ 680 w 10000"/>
              <a:gd name="connsiteY76" fmla="*/ 2742 h 10000"/>
              <a:gd name="connsiteX77" fmla="*/ 680 w 10000"/>
              <a:gd name="connsiteY77" fmla="*/ 2742 h 10000"/>
              <a:gd name="connsiteX78" fmla="*/ 590 w 10000"/>
              <a:gd name="connsiteY78" fmla="*/ 2649 h 10000"/>
              <a:gd name="connsiteX79" fmla="*/ 504 w 10000"/>
              <a:gd name="connsiteY79" fmla="*/ 2557 h 10000"/>
              <a:gd name="connsiteX80" fmla="*/ 423 w 10000"/>
              <a:gd name="connsiteY80" fmla="*/ 2459 h 10000"/>
              <a:gd name="connsiteX81" fmla="*/ 356 w 10000"/>
              <a:gd name="connsiteY81" fmla="*/ 2362 h 10000"/>
              <a:gd name="connsiteX82" fmla="*/ 288 w 10000"/>
              <a:gd name="connsiteY82" fmla="*/ 2260 h 10000"/>
              <a:gd name="connsiteX83" fmla="*/ 230 w 10000"/>
              <a:gd name="connsiteY83" fmla="*/ 2154 h 10000"/>
              <a:gd name="connsiteX84" fmla="*/ 180 w 10000"/>
              <a:gd name="connsiteY84" fmla="*/ 2047 h 10000"/>
              <a:gd name="connsiteX85" fmla="*/ 131 w 10000"/>
              <a:gd name="connsiteY85" fmla="*/ 1941 h 10000"/>
              <a:gd name="connsiteX86" fmla="*/ 95 w 10000"/>
              <a:gd name="connsiteY86" fmla="*/ 1830 h 10000"/>
              <a:gd name="connsiteX87" fmla="*/ 63 w 10000"/>
              <a:gd name="connsiteY87" fmla="*/ 1714 h 10000"/>
              <a:gd name="connsiteX88" fmla="*/ 36 w 10000"/>
              <a:gd name="connsiteY88" fmla="*/ 1593 h 10000"/>
              <a:gd name="connsiteX89" fmla="*/ 18 w 10000"/>
              <a:gd name="connsiteY89" fmla="*/ 1473 h 10000"/>
              <a:gd name="connsiteX90" fmla="*/ 5 w 10000"/>
              <a:gd name="connsiteY90" fmla="*/ 1352 h 10000"/>
              <a:gd name="connsiteX91" fmla="*/ 0 w 10000"/>
              <a:gd name="connsiteY91" fmla="*/ 1227 h 10000"/>
              <a:gd name="connsiteX92" fmla="*/ 0 w 10000"/>
              <a:gd name="connsiteY92" fmla="*/ 1098 h 10000"/>
              <a:gd name="connsiteX93" fmla="*/ 9 w 10000"/>
              <a:gd name="connsiteY93" fmla="*/ 968 h 10000"/>
              <a:gd name="connsiteX94" fmla="*/ 9 w 10000"/>
              <a:gd name="connsiteY94" fmla="*/ 968 h 10000"/>
              <a:gd name="connsiteX95" fmla="*/ 23 w 10000"/>
              <a:gd name="connsiteY95" fmla="*/ 848 h 10000"/>
              <a:gd name="connsiteX96" fmla="*/ 41 w 10000"/>
              <a:gd name="connsiteY96" fmla="*/ 727 h 10000"/>
              <a:gd name="connsiteX97" fmla="*/ 68 w 10000"/>
              <a:gd name="connsiteY97" fmla="*/ 607 h 10000"/>
              <a:gd name="connsiteX98" fmla="*/ 95 w 10000"/>
              <a:gd name="connsiteY98" fmla="*/ 491 h 10000"/>
              <a:gd name="connsiteX99" fmla="*/ 131 w 10000"/>
              <a:gd name="connsiteY99" fmla="*/ 375 h 10000"/>
              <a:gd name="connsiteX100" fmla="*/ 171 w 10000"/>
              <a:gd name="connsiteY100" fmla="*/ 259 h 10000"/>
              <a:gd name="connsiteX101" fmla="*/ 212 w 10000"/>
              <a:gd name="connsiteY101" fmla="*/ 148 h 10000"/>
              <a:gd name="connsiteX102" fmla="*/ 266 w 10000"/>
              <a:gd name="connsiteY102" fmla="*/ 37 h 10000"/>
              <a:gd name="connsiteX103" fmla="*/ 266 w 10000"/>
              <a:gd name="connsiteY103" fmla="*/ 37 h 10000"/>
              <a:gd name="connsiteX104" fmla="*/ 275 w 10000"/>
              <a:gd name="connsiteY104" fmla="*/ 0 h 10000"/>
              <a:gd name="connsiteX105" fmla="*/ 275 w 10000"/>
              <a:gd name="connsiteY105" fmla="*/ 0 h 10000"/>
              <a:gd name="connsiteX0" fmla="*/ 275 w 10000"/>
              <a:gd name="connsiteY0" fmla="*/ 0 h 10000"/>
              <a:gd name="connsiteX1" fmla="*/ 275 w 10000"/>
              <a:gd name="connsiteY1" fmla="*/ 0 h 10000"/>
              <a:gd name="connsiteX2" fmla="*/ 6380 w 10000"/>
              <a:gd name="connsiteY2" fmla="*/ 0 h 10000"/>
              <a:gd name="connsiteX3" fmla="*/ 10000 w 10000"/>
              <a:gd name="connsiteY3" fmla="*/ 9893 h 10000"/>
              <a:gd name="connsiteX4" fmla="*/ 10000 w 10000"/>
              <a:gd name="connsiteY4" fmla="*/ 9893 h 10000"/>
              <a:gd name="connsiteX5" fmla="*/ 10000 w 10000"/>
              <a:gd name="connsiteY5" fmla="*/ 9940 h 10000"/>
              <a:gd name="connsiteX6" fmla="*/ 10000 w 10000"/>
              <a:gd name="connsiteY6" fmla="*/ 9940 h 10000"/>
              <a:gd name="connsiteX7" fmla="*/ 10000 w 10000"/>
              <a:gd name="connsiteY7" fmla="*/ 9958 h 10000"/>
              <a:gd name="connsiteX8" fmla="*/ 9991 w 10000"/>
              <a:gd name="connsiteY8" fmla="*/ 9972 h 10000"/>
              <a:gd name="connsiteX9" fmla="*/ 9982 w 10000"/>
              <a:gd name="connsiteY9" fmla="*/ 9981 h 10000"/>
              <a:gd name="connsiteX10" fmla="*/ 9959 w 10000"/>
              <a:gd name="connsiteY10" fmla="*/ 9991 h 10000"/>
              <a:gd name="connsiteX11" fmla="*/ 9847 w 10000"/>
              <a:gd name="connsiteY11" fmla="*/ 10000 h 10000"/>
              <a:gd name="connsiteX12" fmla="*/ 9734 w 10000"/>
              <a:gd name="connsiteY12" fmla="*/ 10000 h 10000"/>
              <a:gd name="connsiteX13" fmla="*/ 7052 w 10000"/>
              <a:gd name="connsiteY13" fmla="*/ 8902 h 10000"/>
              <a:gd name="connsiteX14" fmla="*/ 6805 w 10000"/>
              <a:gd name="connsiteY14" fmla="*/ 8736 h 10000"/>
              <a:gd name="connsiteX15" fmla="*/ 6562 w 10000"/>
              <a:gd name="connsiteY15" fmla="*/ 8564 h 10000"/>
              <a:gd name="connsiteX16" fmla="*/ 6319 w 10000"/>
              <a:gd name="connsiteY16" fmla="*/ 8388 h 10000"/>
              <a:gd name="connsiteX17" fmla="*/ 6085 w 10000"/>
              <a:gd name="connsiteY17" fmla="*/ 8208 h 10000"/>
              <a:gd name="connsiteX18" fmla="*/ 5851 w 10000"/>
              <a:gd name="connsiteY18" fmla="*/ 8022 h 10000"/>
              <a:gd name="connsiteX19" fmla="*/ 5621 w 10000"/>
              <a:gd name="connsiteY19" fmla="*/ 7832 h 10000"/>
              <a:gd name="connsiteX20" fmla="*/ 5392 w 10000"/>
              <a:gd name="connsiteY20" fmla="*/ 7642 h 10000"/>
              <a:gd name="connsiteX21" fmla="*/ 5167 w 10000"/>
              <a:gd name="connsiteY21" fmla="*/ 7443 h 10000"/>
              <a:gd name="connsiteX22" fmla="*/ 5167 w 10000"/>
              <a:gd name="connsiteY22" fmla="*/ 7443 h 10000"/>
              <a:gd name="connsiteX23" fmla="*/ 4905 w 10000"/>
              <a:gd name="connsiteY23" fmla="*/ 7216 h 10000"/>
              <a:gd name="connsiteX24" fmla="*/ 4905 w 10000"/>
              <a:gd name="connsiteY24" fmla="*/ 7216 h 10000"/>
              <a:gd name="connsiteX25" fmla="*/ 4995 w 10000"/>
              <a:gd name="connsiteY25" fmla="*/ 7040 h 10000"/>
              <a:gd name="connsiteX26" fmla="*/ 5077 w 10000"/>
              <a:gd name="connsiteY26" fmla="*/ 6864 h 10000"/>
              <a:gd name="connsiteX27" fmla="*/ 5077 w 10000"/>
              <a:gd name="connsiteY27" fmla="*/ 6864 h 10000"/>
              <a:gd name="connsiteX28" fmla="*/ 5113 w 10000"/>
              <a:gd name="connsiteY28" fmla="*/ 6781 h 10000"/>
              <a:gd name="connsiteX29" fmla="*/ 5144 w 10000"/>
              <a:gd name="connsiteY29" fmla="*/ 6693 h 10000"/>
              <a:gd name="connsiteX30" fmla="*/ 5176 w 10000"/>
              <a:gd name="connsiteY30" fmla="*/ 6605 h 10000"/>
              <a:gd name="connsiteX31" fmla="*/ 5203 w 10000"/>
              <a:gd name="connsiteY31" fmla="*/ 6517 h 10000"/>
              <a:gd name="connsiteX32" fmla="*/ 5225 w 10000"/>
              <a:gd name="connsiteY32" fmla="*/ 6424 h 10000"/>
              <a:gd name="connsiteX33" fmla="*/ 5243 w 10000"/>
              <a:gd name="connsiteY33" fmla="*/ 6336 h 10000"/>
              <a:gd name="connsiteX34" fmla="*/ 5252 w 10000"/>
              <a:gd name="connsiteY34" fmla="*/ 6244 h 10000"/>
              <a:gd name="connsiteX35" fmla="*/ 5261 w 10000"/>
              <a:gd name="connsiteY35" fmla="*/ 6146 h 10000"/>
              <a:gd name="connsiteX36" fmla="*/ 5261 w 10000"/>
              <a:gd name="connsiteY36" fmla="*/ 6146 h 10000"/>
              <a:gd name="connsiteX37" fmla="*/ 5266 w 10000"/>
              <a:gd name="connsiteY37" fmla="*/ 6040 h 10000"/>
              <a:gd name="connsiteX38" fmla="*/ 5257 w 10000"/>
              <a:gd name="connsiteY38" fmla="*/ 5933 h 10000"/>
              <a:gd name="connsiteX39" fmla="*/ 5243 w 10000"/>
              <a:gd name="connsiteY39" fmla="*/ 5831 h 10000"/>
              <a:gd name="connsiteX40" fmla="*/ 5221 w 10000"/>
              <a:gd name="connsiteY40" fmla="*/ 5730 h 10000"/>
              <a:gd name="connsiteX41" fmla="*/ 5189 w 10000"/>
              <a:gd name="connsiteY41" fmla="*/ 5632 h 10000"/>
              <a:gd name="connsiteX42" fmla="*/ 5149 w 10000"/>
              <a:gd name="connsiteY42" fmla="*/ 5535 h 10000"/>
              <a:gd name="connsiteX43" fmla="*/ 5099 w 10000"/>
              <a:gd name="connsiteY43" fmla="*/ 5442 h 10000"/>
              <a:gd name="connsiteX44" fmla="*/ 5045 w 10000"/>
              <a:gd name="connsiteY44" fmla="*/ 5350 h 10000"/>
              <a:gd name="connsiteX45" fmla="*/ 5045 w 10000"/>
              <a:gd name="connsiteY45" fmla="*/ 5350 h 10000"/>
              <a:gd name="connsiteX46" fmla="*/ 4986 w 10000"/>
              <a:gd name="connsiteY46" fmla="*/ 5266 h 10000"/>
              <a:gd name="connsiteX47" fmla="*/ 4923 w 10000"/>
              <a:gd name="connsiteY47" fmla="*/ 5183 h 10000"/>
              <a:gd name="connsiteX48" fmla="*/ 4856 w 10000"/>
              <a:gd name="connsiteY48" fmla="*/ 5109 h 10000"/>
              <a:gd name="connsiteX49" fmla="*/ 4784 w 10000"/>
              <a:gd name="connsiteY49" fmla="*/ 5035 h 10000"/>
              <a:gd name="connsiteX50" fmla="*/ 4707 w 10000"/>
              <a:gd name="connsiteY50" fmla="*/ 4965 h 10000"/>
              <a:gd name="connsiteX51" fmla="*/ 4631 w 10000"/>
              <a:gd name="connsiteY51" fmla="*/ 4900 h 10000"/>
              <a:gd name="connsiteX52" fmla="*/ 4550 w 10000"/>
              <a:gd name="connsiteY52" fmla="*/ 4836 h 10000"/>
              <a:gd name="connsiteX53" fmla="*/ 4469 w 10000"/>
              <a:gd name="connsiteY53" fmla="*/ 4775 h 10000"/>
              <a:gd name="connsiteX54" fmla="*/ 4469 w 10000"/>
              <a:gd name="connsiteY54" fmla="*/ 4775 h 10000"/>
              <a:gd name="connsiteX55" fmla="*/ 4347 w 10000"/>
              <a:gd name="connsiteY55" fmla="*/ 4687 h 10000"/>
              <a:gd name="connsiteX56" fmla="*/ 4226 w 10000"/>
              <a:gd name="connsiteY56" fmla="*/ 4609 h 10000"/>
              <a:gd name="connsiteX57" fmla="*/ 4104 w 10000"/>
              <a:gd name="connsiteY57" fmla="*/ 4530 h 10000"/>
              <a:gd name="connsiteX58" fmla="*/ 3978 w 10000"/>
              <a:gd name="connsiteY58" fmla="*/ 4456 h 10000"/>
              <a:gd name="connsiteX59" fmla="*/ 3852 w 10000"/>
              <a:gd name="connsiteY59" fmla="*/ 4386 h 10000"/>
              <a:gd name="connsiteX60" fmla="*/ 3722 w 10000"/>
              <a:gd name="connsiteY60" fmla="*/ 4317 h 10000"/>
              <a:gd name="connsiteX61" fmla="*/ 3591 w 10000"/>
              <a:gd name="connsiteY61" fmla="*/ 4252 h 10000"/>
              <a:gd name="connsiteX62" fmla="*/ 3461 w 10000"/>
              <a:gd name="connsiteY62" fmla="*/ 4187 h 10000"/>
              <a:gd name="connsiteX63" fmla="*/ 3461 w 10000"/>
              <a:gd name="connsiteY63" fmla="*/ 4187 h 10000"/>
              <a:gd name="connsiteX64" fmla="*/ 3029 w 10000"/>
              <a:gd name="connsiteY64" fmla="*/ 3993 h 10000"/>
              <a:gd name="connsiteX65" fmla="*/ 2601 w 10000"/>
              <a:gd name="connsiteY65" fmla="*/ 3798 h 10000"/>
              <a:gd name="connsiteX66" fmla="*/ 1742 w 10000"/>
              <a:gd name="connsiteY66" fmla="*/ 3414 h 10000"/>
              <a:gd name="connsiteX67" fmla="*/ 1742 w 10000"/>
              <a:gd name="connsiteY67" fmla="*/ 3414 h 10000"/>
              <a:gd name="connsiteX68" fmla="*/ 1598 w 10000"/>
              <a:gd name="connsiteY68" fmla="*/ 3349 h 10000"/>
              <a:gd name="connsiteX69" fmla="*/ 1454 w 10000"/>
              <a:gd name="connsiteY69" fmla="*/ 3279 h 10000"/>
              <a:gd name="connsiteX70" fmla="*/ 1314 w 10000"/>
              <a:gd name="connsiteY70" fmla="*/ 3205 h 10000"/>
              <a:gd name="connsiteX71" fmla="*/ 1179 w 10000"/>
              <a:gd name="connsiteY71" fmla="*/ 3126 h 10000"/>
              <a:gd name="connsiteX72" fmla="*/ 1049 w 10000"/>
              <a:gd name="connsiteY72" fmla="*/ 3038 h 10000"/>
              <a:gd name="connsiteX73" fmla="*/ 923 w 10000"/>
              <a:gd name="connsiteY73" fmla="*/ 2946 h 10000"/>
              <a:gd name="connsiteX74" fmla="*/ 797 w 10000"/>
              <a:gd name="connsiteY74" fmla="*/ 2849 h 10000"/>
              <a:gd name="connsiteX75" fmla="*/ 680 w 10000"/>
              <a:gd name="connsiteY75" fmla="*/ 2742 h 10000"/>
              <a:gd name="connsiteX76" fmla="*/ 680 w 10000"/>
              <a:gd name="connsiteY76" fmla="*/ 2742 h 10000"/>
              <a:gd name="connsiteX77" fmla="*/ 590 w 10000"/>
              <a:gd name="connsiteY77" fmla="*/ 2649 h 10000"/>
              <a:gd name="connsiteX78" fmla="*/ 504 w 10000"/>
              <a:gd name="connsiteY78" fmla="*/ 2557 h 10000"/>
              <a:gd name="connsiteX79" fmla="*/ 423 w 10000"/>
              <a:gd name="connsiteY79" fmla="*/ 2459 h 10000"/>
              <a:gd name="connsiteX80" fmla="*/ 356 w 10000"/>
              <a:gd name="connsiteY80" fmla="*/ 2362 h 10000"/>
              <a:gd name="connsiteX81" fmla="*/ 288 w 10000"/>
              <a:gd name="connsiteY81" fmla="*/ 2260 h 10000"/>
              <a:gd name="connsiteX82" fmla="*/ 230 w 10000"/>
              <a:gd name="connsiteY82" fmla="*/ 2154 h 10000"/>
              <a:gd name="connsiteX83" fmla="*/ 180 w 10000"/>
              <a:gd name="connsiteY83" fmla="*/ 2047 h 10000"/>
              <a:gd name="connsiteX84" fmla="*/ 131 w 10000"/>
              <a:gd name="connsiteY84" fmla="*/ 1941 h 10000"/>
              <a:gd name="connsiteX85" fmla="*/ 95 w 10000"/>
              <a:gd name="connsiteY85" fmla="*/ 1830 h 10000"/>
              <a:gd name="connsiteX86" fmla="*/ 63 w 10000"/>
              <a:gd name="connsiteY86" fmla="*/ 1714 h 10000"/>
              <a:gd name="connsiteX87" fmla="*/ 36 w 10000"/>
              <a:gd name="connsiteY87" fmla="*/ 1593 h 10000"/>
              <a:gd name="connsiteX88" fmla="*/ 18 w 10000"/>
              <a:gd name="connsiteY88" fmla="*/ 1473 h 10000"/>
              <a:gd name="connsiteX89" fmla="*/ 5 w 10000"/>
              <a:gd name="connsiteY89" fmla="*/ 1352 h 10000"/>
              <a:gd name="connsiteX90" fmla="*/ 0 w 10000"/>
              <a:gd name="connsiteY90" fmla="*/ 1227 h 10000"/>
              <a:gd name="connsiteX91" fmla="*/ 0 w 10000"/>
              <a:gd name="connsiteY91" fmla="*/ 1098 h 10000"/>
              <a:gd name="connsiteX92" fmla="*/ 9 w 10000"/>
              <a:gd name="connsiteY92" fmla="*/ 968 h 10000"/>
              <a:gd name="connsiteX93" fmla="*/ 9 w 10000"/>
              <a:gd name="connsiteY93" fmla="*/ 968 h 10000"/>
              <a:gd name="connsiteX94" fmla="*/ 23 w 10000"/>
              <a:gd name="connsiteY94" fmla="*/ 848 h 10000"/>
              <a:gd name="connsiteX95" fmla="*/ 41 w 10000"/>
              <a:gd name="connsiteY95" fmla="*/ 727 h 10000"/>
              <a:gd name="connsiteX96" fmla="*/ 68 w 10000"/>
              <a:gd name="connsiteY96" fmla="*/ 607 h 10000"/>
              <a:gd name="connsiteX97" fmla="*/ 95 w 10000"/>
              <a:gd name="connsiteY97" fmla="*/ 491 h 10000"/>
              <a:gd name="connsiteX98" fmla="*/ 131 w 10000"/>
              <a:gd name="connsiteY98" fmla="*/ 375 h 10000"/>
              <a:gd name="connsiteX99" fmla="*/ 171 w 10000"/>
              <a:gd name="connsiteY99" fmla="*/ 259 h 10000"/>
              <a:gd name="connsiteX100" fmla="*/ 212 w 10000"/>
              <a:gd name="connsiteY100" fmla="*/ 148 h 10000"/>
              <a:gd name="connsiteX101" fmla="*/ 266 w 10000"/>
              <a:gd name="connsiteY101" fmla="*/ 37 h 10000"/>
              <a:gd name="connsiteX102" fmla="*/ 266 w 10000"/>
              <a:gd name="connsiteY102" fmla="*/ 37 h 10000"/>
              <a:gd name="connsiteX103" fmla="*/ 275 w 10000"/>
              <a:gd name="connsiteY103" fmla="*/ 0 h 10000"/>
              <a:gd name="connsiteX104" fmla="*/ 275 w 10000"/>
              <a:gd name="connsiteY104" fmla="*/ 0 h 10000"/>
              <a:gd name="connsiteX0" fmla="*/ 275 w 10218"/>
              <a:gd name="connsiteY0" fmla="*/ 0 h 10181"/>
              <a:gd name="connsiteX1" fmla="*/ 275 w 10218"/>
              <a:gd name="connsiteY1" fmla="*/ 0 h 10181"/>
              <a:gd name="connsiteX2" fmla="*/ 6380 w 10218"/>
              <a:gd name="connsiteY2" fmla="*/ 0 h 10181"/>
              <a:gd name="connsiteX3" fmla="*/ 10000 w 10218"/>
              <a:gd name="connsiteY3" fmla="*/ 9893 h 10181"/>
              <a:gd name="connsiteX4" fmla="*/ 10000 w 10218"/>
              <a:gd name="connsiteY4" fmla="*/ 9893 h 10181"/>
              <a:gd name="connsiteX5" fmla="*/ 10000 w 10218"/>
              <a:gd name="connsiteY5" fmla="*/ 9940 h 10181"/>
              <a:gd name="connsiteX6" fmla="*/ 10000 w 10218"/>
              <a:gd name="connsiteY6" fmla="*/ 9940 h 10181"/>
              <a:gd name="connsiteX7" fmla="*/ 10000 w 10218"/>
              <a:gd name="connsiteY7" fmla="*/ 9958 h 10181"/>
              <a:gd name="connsiteX8" fmla="*/ 9991 w 10218"/>
              <a:gd name="connsiteY8" fmla="*/ 9972 h 10181"/>
              <a:gd name="connsiteX9" fmla="*/ 9982 w 10218"/>
              <a:gd name="connsiteY9" fmla="*/ 9981 h 10181"/>
              <a:gd name="connsiteX10" fmla="*/ 9959 w 10218"/>
              <a:gd name="connsiteY10" fmla="*/ 9991 h 10181"/>
              <a:gd name="connsiteX11" fmla="*/ 9734 w 10218"/>
              <a:gd name="connsiteY11" fmla="*/ 10000 h 10181"/>
              <a:gd name="connsiteX12" fmla="*/ 7052 w 10218"/>
              <a:gd name="connsiteY12" fmla="*/ 8902 h 10181"/>
              <a:gd name="connsiteX13" fmla="*/ 6805 w 10218"/>
              <a:gd name="connsiteY13" fmla="*/ 8736 h 10181"/>
              <a:gd name="connsiteX14" fmla="*/ 6562 w 10218"/>
              <a:gd name="connsiteY14" fmla="*/ 8564 h 10181"/>
              <a:gd name="connsiteX15" fmla="*/ 6319 w 10218"/>
              <a:gd name="connsiteY15" fmla="*/ 8388 h 10181"/>
              <a:gd name="connsiteX16" fmla="*/ 6085 w 10218"/>
              <a:gd name="connsiteY16" fmla="*/ 8208 h 10181"/>
              <a:gd name="connsiteX17" fmla="*/ 5851 w 10218"/>
              <a:gd name="connsiteY17" fmla="*/ 8022 h 10181"/>
              <a:gd name="connsiteX18" fmla="*/ 5621 w 10218"/>
              <a:gd name="connsiteY18" fmla="*/ 7832 h 10181"/>
              <a:gd name="connsiteX19" fmla="*/ 5392 w 10218"/>
              <a:gd name="connsiteY19" fmla="*/ 7642 h 10181"/>
              <a:gd name="connsiteX20" fmla="*/ 5167 w 10218"/>
              <a:gd name="connsiteY20" fmla="*/ 7443 h 10181"/>
              <a:gd name="connsiteX21" fmla="*/ 5167 w 10218"/>
              <a:gd name="connsiteY21" fmla="*/ 7443 h 10181"/>
              <a:gd name="connsiteX22" fmla="*/ 4905 w 10218"/>
              <a:gd name="connsiteY22" fmla="*/ 7216 h 10181"/>
              <a:gd name="connsiteX23" fmla="*/ 4905 w 10218"/>
              <a:gd name="connsiteY23" fmla="*/ 7216 h 10181"/>
              <a:gd name="connsiteX24" fmla="*/ 4995 w 10218"/>
              <a:gd name="connsiteY24" fmla="*/ 7040 h 10181"/>
              <a:gd name="connsiteX25" fmla="*/ 5077 w 10218"/>
              <a:gd name="connsiteY25" fmla="*/ 6864 h 10181"/>
              <a:gd name="connsiteX26" fmla="*/ 5077 w 10218"/>
              <a:gd name="connsiteY26" fmla="*/ 6864 h 10181"/>
              <a:gd name="connsiteX27" fmla="*/ 5113 w 10218"/>
              <a:gd name="connsiteY27" fmla="*/ 6781 h 10181"/>
              <a:gd name="connsiteX28" fmla="*/ 5144 w 10218"/>
              <a:gd name="connsiteY28" fmla="*/ 6693 h 10181"/>
              <a:gd name="connsiteX29" fmla="*/ 5176 w 10218"/>
              <a:gd name="connsiteY29" fmla="*/ 6605 h 10181"/>
              <a:gd name="connsiteX30" fmla="*/ 5203 w 10218"/>
              <a:gd name="connsiteY30" fmla="*/ 6517 h 10181"/>
              <a:gd name="connsiteX31" fmla="*/ 5225 w 10218"/>
              <a:gd name="connsiteY31" fmla="*/ 6424 h 10181"/>
              <a:gd name="connsiteX32" fmla="*/ 5243 w 10218"/>
              <a:gd name="connsiteY32" fmla="*/ 6336 h 10181"/>
              <a:gd name="connsiteX33" fmla="*/ 5252 w 10218"/>
              <a:gd name="connsiteY33" fmla="*/ 6244 h 10181"/>
              <a:gd name="connsiteX34" fmla="*/ 5261 w 10218"/>
              <a:gd name="connsiteY34" fmla="*/ 6146 h 10181"/>
              <a:gd name="connsiteX35" fmla="*/ 5261 w 10218"/>
              <a:gd name="connsiteY35" fmla="*/ 6146 h 10181"/>
              <a:gd name="connsiteX36" fmla="*/ 5266 w 10218"/>
              <a:gd name="connsiteY36" fmla="*/ 6040 h 10181"/>
              <a:gd name="connsiteX37" fmla="*/ 5257 w 10218"/>
              <a:gd name="connsiteY37" fmla="*/ 5933 h 10181"/>
              <a:gd name="connsiteX38" fmla="*/ 5243 w 10218"/>
              <a:gd name="connsiteY38" fmla="*/ 5831 h 10181"/>
              <a:gd name="connsiteX39" fmla="*/ 5221 w 10218"/>
              <a:gd name="connsiteY39" fmla="*/ 5730 h 10181"/>
              <a:gd name="connsiteX40" fmla="*/ 5189 w 10218"/>
              <a:gd name="connsiteY40" fmla="*/ 5632 h 10181"/>
              <a:gd name="connsiteX41" fmla="*/ 5149 w 10218"/>
              <a:gd name="connsiteY41" fmla="*/ 5535 h 10181"/>
              <a:gd name="connsiteX42" fmla="*/ 5099 w 10218"/>
              <a:gd name="connsiteY42" fmla="*/ 5442 h 10181"/>
              <a:gd name="connsiteX43" fmla="*/ 5045 w 10218"/>
              <a:gd name="connsiteY43" fmla="*/ 5350 h 10181"/>
              <a:gd name="connsiteX44" fmla="*/ 5045 w 10218"/>
              <a:gd name="connsiteY44" fmla="*/ 5350 h 10181"/>
              <a:gd name="connsiteX45" fmla="*/ 4986 w 10218"/>
              <a:gd name="connsiteY45" fmla="*/ 5266 h 10181"/>
              <a:gd name="connsiteX46" fmla="*/ 4923 w 10218"/>
              <a:gd name="connsiteY46" fmla="*/ 5183 h 10181"/>
              <a:gd name="connsiteX47" fmla="*/ 4856 w 10218"/>
              <a:gd name="connsiteY47" fmla="*/ 5109 h 10181"/>
              <a:gd name="connsiteX48" fmla="*/ 4784 w 10218"/>
              <a:gd name="connsiteY48" fmla="*/ 5035 h 10181"/>
              <a:gd name="connsiteX49" fmla="*/ 4707 w 10218"/>
              <a:gd name="connsiteY49" fmla="*/ 4965 h 10181"/>
              <a:gd name="connsiteX50" fmla="*/ 4631 w 10218"/>
              <a:gd name="connsiteY50" fmla="*/ 4900 h 10181"/>
              <a:gd name="connsiteX51" fmla="*/ 4550 w 10218"/>
              <a:gd name="connsiteY51" fmla="*/ 4836 h 10181"/>
              <a:gd name="connsiteX52" fmla="*/ 4469 w 10218"/>
              <a:gd name="connsiteY52" fmla="*/ 4775 h 10181"/>
              <a:gd name="connsiteX53" fmla="*/ 4469 w 10218"/>
              <a:gd name="connsiteY53" fmla="*/ 4775 h 10181"/>
              <a:gd name="connsiteX54" fmla="*/ 4347 w 10218"/>
              <a:gd name="connsiteY54" fmla="*/ 4687 h 10181"/>
              <a:gd name="connsiteX55" fmla="*/ 4226 w 10218"/>
              <a:gd name="connsiteY55" fmla="*/ 4609 h 10181"/>
              <a:gd name="connsiteX56" fmla="*/ 4104 w 10218"/>
              <a:gd name="connsiteY56" fmla="*/ 4530 h 10181"/>
              <a:gd name="connsiteX57" fmla="*/ 3978 w 10218"/>
              <a:gd name="connsiteY57" fmla="*/ 4456 h 10181"/>
              <a:gd name="connsiteX58" fmla="*/ 3852 w 10218"/>
              <a:gd name="connsiteY58" fmla="*/ 4386 h 10181"/>
              <a:gd name="connsiteX59" fmla="*/ 3722 w 10218"/>
              <a:gd name="connsiteY59" fmla="*/ 4317 h 10181"/>
              <a:gd name="connsiteX60" fmla="*/ 3591 w 10218"/>
              <a:gd name="connsiteY60" fmla="*/ 4252 h 10181"/>
              <a:gd name="connsiteX61" fmla="*/ 3461 w 10218"/>
              <a:gd name="connsiteY61" fmla="*/ 4187 h 10181"/>
              <a:gd name="connsiteX62" fmla="*/ 3461 w 10218"/>
              <a:gd name="connsiteY62" fmla="*/ 4187 h 10181"/>
              <a:gd name="connsiteX63" fmla="*/ 3029 w 10218"/>
              <a:gd name="connsiteY63" fmla="*/ 3993 h 10181"/>
              <a:gd name="connsiteX64" fmla="*/ 2601 w 10218"/>
              <a:gd name="connsiteY64" fmla="*/ 3798 h 10181"/>
              <a:gd name="connsiteX65" fmla="*/ 1742 w 10218"/>
              <a:gd name="connsiteY65" fmla="*/ 3414 h 10181"/>
              <a:gd name="connsiteX66" fmla="*/ 1742 w 10218"/>
              <a:gd name="connsiteY66" fmla="*/ 3414 h 10181"/>
              <a:gd name="connsiteX67" fmla="*/ 1598 w 10218"/>
              <a:gd name="connsiteY67" fmla="*/ 3349 h 10181"/>
              <a:gd name="connsiteX68" fmla="*/ 1454 w 10218"/>
              <a:gd name="connsiteY68" fmla="*/ 3279 h 10181"/>
              <a:gd name="connsiteX69" fmla="*/ 1314 w 10218"/>
              <a:gd name="connsiteY69" fmla="*/ 3205 h 10181"/>
              <a:gd name="connsiteX70" fmla="*/ 1179 w 10218"/>
              <a:gd name="connsiteY70" fmla="*/ 3126 h 10181"/>
              <a:gd name="connsiteX71" fmla="*/ 1049 w 10218"/>
              <a:gd name="connsiteY71" fmla="*/ 3038 h 10181"/>
              <a:gd name="connsiteX72" fmla="*/ 923 w 10218"/>
              <a:gd name="connsiteY72" fmla="*/ 2946 h 10181"/>
              <a:gd name="connsiteX73" fmla="*/ 797 w 10218"/>
              <a:gd name="connsiteY73" fmla="*/ 2849 h 10181"/>
              <a:gd name="connsiteX74" fmla="*/ 680 w 10218"/>
              <a:gd name="connsiteY74" fmla="*/ 2742 h 10181"/>
              <a:gd name="connsiteX75" fmla="*/ 680 w 10218"/>
              <a:gd name="connsiteY75" fmla="*/ 2742 h 10181"/>
              <a:gd name="connsiteX76" fmla="*/ 590 w 10218"/>
              <a:gd name="connsiteY76" fmla="*/ 2649 h 10181"/>
              <a:gd name="connsiteX77" fmla="*/ 504 w 10218"/>
              <a:gd name="connsiteY77" fmla="*/ 2557 h 10181"/>
              <a:gd name="connsiteX78" fmla="*/ 423 w 10218"/>
              <a:gd name="connsiteY78" fmla="*/ 2459 h 10181"/>
              <a:gd name="connsiteX79" fmla="*/ 356 w 10218"/>
              <a:gd name="connsiteY79" fmla="*/ 2362 h 10181"/>
              <a:gd name="connsiteX80" fmla="*/ 288 w 10218"/>
              <a:gd name="connsiteY80" fmla="*/ 2260 h 10181"/>
              <a:gd name="connsiteX81" fmla="*/ 230 w 10218"/>
              <a:gd name="connsiteY81" fmla="*/ 2154 h 10181"/>
              <a:gd name="connsiteX82" fmla="*/ 180 w 10218"/>
              <a:gd name="connsiteY82" fmla="*/ 2047 h 10181"/>
              <a:gd name="connsiteX83" fmla="*/ 131 w 10218"/>
              <a:gd name="connsiteY83" fmla="*/ 1941 h 10181"/>
              <a:gd name="connsiteX84" fmla="*/ 95 w 10218"/>
              <a:gd name="connsiteY84" fmla="*/ 1830 h 10181"/>
              <a:gd name="connsiteX85" fmla="*/ 63 w 10218"/>
              <a:gd name="connsiteY85" fmla="*/ 1714 h 10181"/>
              <a:gd name="connsiteX86" fmla="*/ 36 w 10218"/>
              <a:gd name="connsiteY86" fmla="*/ 1593 h 10181"/>
              <a:gd name="connsiteX87" fmla="*/ 18 w 10218"/>
              <a:gd name="connsiteY87" fmla="*/ 1473 h 10181"/>
              <a:gd name="connsiteX88" fmla="*/ 5 w 10218"/>
              <a:gd name="connsiteY88" fmla="*/ 1352 h 10181"/>
              <a:gd name="connsiteX89" fmla="*/ 0 w 10218"/>
              <a:gd name="connsiteY89" fmla="*/ 1227 h 10181"/>
              <a:gd name="connsiteX90" fmla="*/ 0 w 10218"/>
              <a:gd name="connsiteY90" fmla="*/ 1098 h 10181"/>
              <a:gd name="connsiteX91" fmla="*/ 9 w 10218"/>
              <a:gd name="connsiteY91" fmla="*/ 968 h 10181"/>
              <a:gd name="connsiteX92" fmla="*/ 9 w 10218"/>
              <a:gd name="connsiteY92" fmla="*/ 968 h 10181"/>
              <a:gd name="connsiteX93" fmla="*/ 23 w 10218"/>
              <a:gd name="connsiteY93" fmla="*/ 848 h 10181"/>
              <a:gd name="connsiteX94" fmla="*/ 41 w 10218"/>
              <a:gd name="connsiteY94" fmla="*/ 727 h 10181"/>
              <a:gd name="connsiteX95" fmla="*/ 68 w 10218"/>
              <a:gd name="connsiteY95" fmla="*/ 607 h 10181"/>
              <a:gd name="connsiteX96" fmla="*/ 95 w 10218"/>
              <a:gd name="connsiteY96" fmla="*/ 491 h 10181"/>
              <a:gd name="connsiteX97" fmla="*/ 131 w 10218"/>
              <a:gd name="connsiteY97" fmla="*/ 375 h 10181"/>
              <a:gd name="connsiteX98" fmla="*/ 171 w 10218"/>
              <a:gd name="connsiteY98" fmla="*/ 259 h 10181"/>
              <a:gd name="connsiteX99" fmla="*/ 212 w 10218"/>
              <a:gd name="connsiteY99" fmla="*/ 148 h 10181"/>
              <a:gd name="connsiteX100" fmla="*/ 266 w 10218"/>
              <a:gd name="connsiteY100" fmla="*/ 37 h 10181"/>
              <a:gd name="connsiteX101" fmla="*/ 266 w 10218"/>
              <a:gd name="connsiteY101" fmla="*/ 37 h 10181"/>
              <a:gd name="connsiteX102" fmla="*/ 275 w 10218"/>
              <a:gd name="connsiteY102" fmla="*/ 0 h 10181"/>
              <a:gd name="connsiteX103" fmla="*/ 275 w 10218"/>
              <a:gd name="connsiteY103" fmla="*/ 0 h 10181"/>
              <a:gd name="connsiteX0" fmla="*/ 275 w 10222"/>
              <a:gd name="connsiteY0" fmla="*/ 0 h 10180"/>
              <a:gd name="connsiteX1" fmla="*/ 275 w 10222"/>
              <a:gd name="connsiteY1" fmla="*/ 0 h 10180"/>
              <a:gd name="connsiteX2" fmla="*/ 6380 w 10222"/>
              <a:gd name="connsiteY2" fmla="*/ 0 h 10180"/>
              <a:gd name="connsiteX3" fmla="*/ 10000 w 10222"/>
              <a:gd name="connsiteY3" fmla="*/ 9893 h 10180"/>
              <a:gd name="connsiteX4" fmla="*/ 10000 w 10222"/>
              <a:gd name="connsiteY4" fmla="*/ 9893 h 10180"/>
              <a:gd name="connsiteX5" fmla="*/ 10000 w 10222"/>
              <a:gd name="connsiteY5" fmla="*/ 9940 h 10180"/>
              <a:gd name="connsiteX6" fmla="*/ 10000 w 10222"/>
              <a:gd name="connsiteY6" fmla="*/ 9940 h 10180"/>
              <a:gd name="connsiteX7" fmla="*/ 10000 w 10222"/>
              <a:gd name="connsiteY7" fmla="*/ 9958 h 10180"/>
              <a:gd name="connsiteX8" fmla="*/ 9991 w 10222"/>
              <a:gd name="connsiteY8" fmla="*/ 9972 h 10180"/>
              <a:gd name="connsiteX9" fmla="*/ 9982 w 10222"/>
              <a:gd name="connsiteY9" fmla="*/ 9981 h 10180"/>
              <a:gd name="connsiteX10" fmla="*/ 9734 w 10222"/>
              <a:gd name="connsiteY10" fmla="*/ 10000 h 10180"/>
              <a:gd name="connsiteX11" fmla="*/ 7052 w 10222"/>
              <a:gd name="connsiteY11" fmla="*/ 8902 h 10180"/>
              <a:gd name="connsiteX12" fmla="*/ 6805 w 10222"/>
              <a:gd name="connsiteY12" fmla="*/ 8736 h 10180"/>
              <a:gd name="connsiteX13" fmla="*/ 6562 w 10222"/>
              <a:gd name="connsiteY13" fmla="*/ 8564 h 10180"/>
              <a:gd name="connsiteX14" fmla="*/ 6319 w 10222"/>
              <a:gd name="connsiteY14" fmla="*/ 8388 h 10180"/>
              <a:gd name="connsiteX15" fmla="*/ 6085 w 10222"/>
              <a:gd name="connsiteY15" fmla="*/ 8208 h 10180"/>
              <a:gd name="connsiteX16" fmla="*/ 5851 w 10222"/>
              <a:gd name="connsiteY16" fmla="*/ 8022 h 10180"/>
              <a:gd name="connsiteX17" fmla="*/ 5621 w 10222"/>
              <a:gd name="connsiteY17" fmla="*/ 7832 h 10180"/>
              <a:gd name="connsiteX18" fmla="*/ 5392 w 10222"/>
              <a:gd name="connsiteY18" fmla="*/ 7642 h 10180"/>
              <a:gd name="connsiteX19" fmla="*/ 5167 w 10222"/>
              <a:gd name="connsiteY19" fmla="*/ 7443 h 10180"/>
              <a:gd name="connsiteX20" fmla="*/ 5167 w 10222"/>
              <a:gd name="connsiteY20" fmla="*/ 7443 h 10180"/>
              <a:gd name="connsiteX21" fmla="*/ 4905 w 10222"/>
              <a:gd name="connsiteY21" fmla="*/ 7216 h 10180"/>
              <a:gd name="connsiteX22" fmla="*/ 4905 w 10222"/>
              <a:gd name="connsiteY22" fmla="*/ 7216 h 10180"/>
              <a:gd name="connsiteX23" fmla="*/ 4995 w 10222"/>
              <a:gd name="connsiteY23" fmla="*/ 7040 h 10180"/>
              <a:gd name="connsiteX24" fmla="*/ 5077 w 10222"/>
              <a:gd name="connsiteY24" fmla="*/ 6864 h 10180"/>
              <a:gd name="connsiteX25" fmla="*/ 5077 w 10222"/>
              <a:gd name="connsiteY25" fmla="*/ 6864 h 10180"/>
              <a:gd name="connsiteX26" fmla="*/ 5113 w 10222"/>
              <a:gd name="connsiteY26" fmla="*/ 6781 h 10180"/>
              <a:gd name="connsiteX27" fmla="*/ 5144 w 10222"/>
              <a:gd name="connsiteY27" fmla="*/ 6693 h 10180"/>
              <a:gd name="connsiteX28" fmla="*/ 5176 w 10222"/>
              <a:gd name="connsiteY28" fmla="*/ 6605 h 10180"/>
              <a:gd name="connsiteX29" fmla="*/ 5203 w 10222"/>
              <a:gd name="connsiteY29" fmla="*/ 6517 h 10180"/>
              <a:gd name="connsiteX30" fmla="*/ 5225 w 10222"/>
              <a:gd name="connsiteY30" fmla="*/ 6424 h 10180"/>
              <a:gd name="connsiteX31" fmla="*/ 5243 w 10222"/>
              <a:gd name="connsiteY31" fmla="*/ 6336 h 10180"/>
              <a:gd name="connsiteX32" fmla="*/ 5252 w 10222"/>
              <a:gd name="connsiteY32" fmla="*/ 6244 h 10180"/>
              <a:gd name="connsiteX33" fmla="*/ 5261 w 10222"/>
              <a:gd name="connsiteY33" fmla="*/ 6146 h 10180"/>
              <a:gd name="connsiteX34" fmla="*/ 5261 w 10222"/>
              <a:gd name="connsiteY34" fmla="*/ 6146 h 10180"/>
              <a:gd name="connsiteX35" fmla="*/ 5266 w 10222"/>
              <a:gd name="connsiteY35" fmla="*/ 6040 h 10180"/>
              <a:gd name="connsiteX36" fmla="*/ 5257 w 10222"/>
              <a:gd name="connsiteY36" fmla="*/ 5933 h 10180"/>
              <a:gd name="connsiteX37" fmla="*/ 5243 w 10222"/>
              <a:gd name="connsiteY37" fmla="*/ 5831 h 10180"/>
              <a:gd name="connsiteX38" fmla="*/ 5221 w 10222"/>
              <a:gd name="connsiteY38" fmla="*/ 5730 h 10180"/>
              <a:gd name="connsiteX39" fmla="*/ 5189 w 10222"/>
              <a:gd name="connsiteY39" fmla="*/ 5632 h 10180"/>
              <a:gd name="connsiteX40" fmla="*/ 5149 w 10222"/>
              <a:gd name="connsiteY40" fmla="*/ 5535 h 10180"/>
              <a:gd name="connsiteX41" fmla="*/ 5099 w 10222"/>
              <a:gd name="connsiteY41" fmla="*/ 5442 h 10180"/>
              <a:gd name="connsiteX42" fmla="*/ 5045 w 10222"/>
              <a:gd name="connsiteY42" fmla="*/ 5350 h 10180"/>
              <a:gd name="connsiteX43" fmla="*/ 5045 w 10222"/>
              <a:gd name="connsiteY43" fmla="*/ 5350 h 10180"/>
              <a:gd name="connsiteX44" fmla="*/ 4986 w 10222"/>
              <a:gd name="connsiteY44" fmla="*/ 5266 h 10180"/>
              <a:gd name="connsiteX45" fmla="*/ 4923 w 10222"/>
              <a:gd name="connsiteY45" fmla="*/ 5183 h 10180"/>
              <a:gd name="connsiteX46" fmla="*/ 4856 w 10222"/>
              <a:gd name="connsiteY46" fmla="*/ 5109 h 10180"/>
              <a:gd name="connsiteX47" fmla="*/ 4784 w 10222"/>
              <a:gd name="connsiteY47" fmla="*/ 5035 h 10180"/>
              <a:gd name="connsiteX48" fmla="*/ 4707 w 10222"/>
              <a:gd name="connsiteY48" fmla="*/ 4965 h 10180"/>
              <a:gd name="connsiteX49" fmla="*/ 4631 w 10222"/>
              <a:gd name="connsiteY49" fmla="*/ 4900 h 10180"/>
              <a:gd name="connsiteX50" fmla="*/ 4550 w 10222"/>
              <a:gd name="connsiteY50" fmla="*/ 4836 h 10180"/>
              <a:gd name="connsiteX51" fmla="*/ 4469 w 10222"/>
              <a:gd name="connsiteY51" fmla="*/ 4775 h 10180"/>
              <a:gd name="connsiteX52" fmla="*/ 4469 w 10222"/>
              <a:gd name="connsiteY52" fmla="*/ 4775 h 10180"/>
              <a:gd name="connsiteX53" fmla="*/ 4347 w 10222"/>
              <a:gd name="connsiteY53" fmla="*/ 4687 h 10180"/>
              <a:gd name="connsiteX54" fmla="*/ 4226 w 10222"/>
              <a:gd name="connsiteY54" fmla="*/ 4609 h 10180"/>
              <a:gd name="connsiteX55" fmla="*/ 4104 w 10222"/>
              <a:gd name="connsiteY55" fmla="*/ 4530 h 10180"/>
              <a:gd name="connsiteX56" fmla="*/ 3978 w 10222"/>
              <a:gd name="connsiteY56" fmla="*/ 4456 h 10180"/>
              <a:gd name="connsiteX57" fmla="*/ 3852 w 10222"/>
              <a:gd name="connsiteY57" fmla="*/ 4386 h 10180"/>
              <a:gd name="connsiteX58" fmla="*/ 3722 w 10222"/>
              <a:gd name="connsiteY58" fmla="*/ 4317 h 10180"/>
              <a:gd name="connsiteX59" fmla="*/ 3591 w 10222"/>
              <a:gd name="connsiteY59" fmla="*/ 4252 h 10180"/>
              <a:gd name="connsiteX60" fmla="*/ 3461 w 10222"/>
              <a:gd name="connsiteY60" fmla="*/ 4187 h 10180"/>
              <a:gd name="connsiteX61" fmla="*/ 3461 w 10222"/>
              <a:gd name="connsiteY61" fmla="*/ 4187 h 10180"/>
              <a:gd name="connsiteX62" fmla="*/ 3029 w 10222"/>
              <a:gd name="connsiteY62" fmla="*/ 3993 h 10180"/>
              <a:gd name="connsiteX63" fmla="*/ 2601 w 10222"/>
              <a:gd name="connsiteY63" fmla="*/ 3798 h 10180"/>
              <a:gd name="connsiteX64" fmla="*/ 1742 w 10222"/>
              <a:gd name="connsiteY64" fmla="*/ 3414 h 10180"/>
              <a:gd name="connsiteX65" fmla="*/ 1742 w 10222"/>
              <a:gd name="connsiteY65" fmla="*/ 3414 h 10180"/>
              <a:gd name="connsiteX66" fmla="*/ 1598 w 10222"/>
              <a:gd name="connsiteY66" fmla="*/ 3349 h 10180"/>
              <a:gd name="connsiteX67" fmla="*/ 1454 w 10222"/>
              <a:gd name="connsiteY67" fmla="*/ 3279 h 10180"/>
              <a:gd name="connsiteX68" fmla="*/ 1314 w 10222"/>
              <a:gd name="connsiteY68" fmla="*/ 3205 h 10180"/>
              <a:gd name="connsiteX69" fmla="*/ 1179 w 10222"/>
              <a:gd name="connsiteY69" fmla="*/ 3126 h 10180"/>
              <a:gd name="connsiteX70" fmla="*/ 1049 w 10222"/>
              <a:gd name="connsiteY70" fmla="*/ 3038 h 10180"/>
              <a:gd name="connsiteX71" fmla="*/ 923 w 10222"/>
              <a:gd name="connsiteY71" fmla="*/ 2946 h 10180"/>
              <a:gd name="connsiteX72" fmla="*/ 797 w 10222"/>
              <a:gd name="connsiteY72" fmla="*/ 2849 h 10180"/>
              <a:gd name="connsiteX73" fmla="*/ 680 w 10222"/>
              <a:gd name="connsiteY73" fmla="*/ 2742 h 10180"/>
              <a:gd name="connsiteX74" fmla="*/ 680 w 10222"/>
              <a:gd name="connsiteY74" fmla="*/ 2742 h 10180"/>
              <a:gd name="connsiteX75" fmla="*/ 590 w 10222"/>
              <a:gd name="connsiteY75" fmla="*/ 2649 h 10180"/>
              <a:gd name="connsiteX76" fmla="*/ 504 w 10222"/>
              <a:gd name="connsiteY76" fmla="*/ 2557 h 10180"/>
              <a:gd name="connsiteX77" fmla="*/ 423 w 10222"/>
              <a:gd name="connsiteY77" fmla="*/ 2459 h 10180"/>
              <a:gd name="connsiteX78" fmla="*/ 356 w 10222"/>
              <a:gd name="connsiteY78" fmla="*/ 2362 h 10180"/>
              <a:gd name="connsiteX79" fmla="*/ 288 w 10222"/>
              <a:gd name="connsiteY79" fmla="*/ 2260 h 10180"/>
              <a:gd name="connsiteX80" fmla="*/ 230 w 10222"/>
              <a:gd name="connsiteY80" fmla="*/ 2154 h 10180"/>
              <a:gd name="connsiteX81" fmla="*/ 180 w 10222"/>
              <a:gd name="connsiteY81" fmla="*/ 2047 h 10180"/>
              <a:gd name="connsiteX82" fmla="*/ 131 w 10222"/>
              <a:gd name="connsiteY82" fmla="*/ 1941 h 10180"/>
              <a:gd name="connsiteX83" fmla="*/ 95 w 10222"/>
              <a:gd name="connsiteY83" fmla="*/ 1830 h 10180"/>
              <a:gd name="connsiteX84" fmla="*/ 63 w 10222"/>
              <a:gd name="connsiteY84" fmla="*/ 1714 h 10180"/>
              <a:gd name="connsiteX85" fmla="*/ 36 w 10222"/>
              <a:gd name="connsiteY85" fmla="*/ 1593 h 10180"/>
              <a:gd name="connsiteX86" fmla="*/ 18 w 10222"/>
              <a:gd name="connsiteY86" fmla="*/ 1473 h 10180"/>
              <a:gd name="connsiteX87" fmla="*/ 5 w 10222"/>
              <a:gd name="connsiteY87" fmla="*/ 1352 h 10180"/>
              <a:gd name="connsiteX88" fmla="*/ 0 w 10222"/>
              <a:gd name="connsiteY88" fmla="*/ 1227 h 10180"/>
              <a:gd name="connsiteX89" fmla="*/ 0 w 10222"/>
              <a:gd name="connsiteY89" fmla="*/ 1098 h 10180"/>
              <a:gd name="connsiteX90" fmla="*/ 9 w 10222"/>
              <a:gd name="connsiteY90" fmla="*/ 968 h 10180"/>
              <a:gd name="connsiteX91" fmla="*/ 9 w 10222"/>
              <a:gd name="connsiteY91" fmla="*/ 968 h 10180"/>
              <a:gd name="connsiteX92" fmla="*/ 23 w 10222"/>
              <a:gd name="connsiteY92" fmla="*/ 848 h 10180"/>
              <a:gd name="connsiteX93" fmla="*/ 41 w 10222"/>
              <a:gd name="connsiteY93" fmla="*/ 727 h 10180"/>
              <a:gd name="connsiteX94" fmla="*/ 68 w 10222"/>
              <a:gd name="connsiteY94" fmla="*/ 607 h 10180"/>
              <a:gd name="connsiteX95" fmla="*/ 95 w 10222"/>
              <a:gd name="connsiteY95" fmla="*/ 491 h 10180"/>
              <a:gd name="connsiteX96" fmla="*/ 131 w 10222"/>
              <a:gd name="connsiteY96" fmla="*/ 375 h 10180"/>
              <a:gd name="connsiteX97" fmla="*/ 171 w 10222"/>
              <a:gd name="connsiteY97" fmla="*/ 259 h 10180"/>
              <a:gd name="connsiteX98" fmla="*/ 212 w 10222"/>
              <a:gd name="connsiteY98" fmla="*/ 148 h 10180"/>
              <a:gd name="connsiteX99" fmla="*/ 266 w 10222"/>
              <a:gd name="connsiteY99" fmla="*/ 37 h 10180"/>
              <a:gd name="connsiteX100" fmla="*/ 266 w 10222"/>
              <a:gd name="connsiteY100" fmla="*/ 37 h 10180"/>
              <a:gd name="connsiteX101" fmla="*/ 275 w 10222"/>
              <a:gd name="connsiteY101" fmla="*/ 0 h 10180"/>
              <a:gd name="connsiteX102" fmla="*/ 275 w 10222"/>
              <a:gd name="connsiteY102" fmla="*/ 0 h 10180"/>
              <a:gd name="connsiteX0" fmla="*/ 275 w 10000"/>
              <a:gd name="connsiteY0" fmla="*/ 0 h 10000"/>
              <a:gd name="connsiteX1" fmla="*/ 275 w 10000"/>
              <a:gd name="connsiteY1" fmla="*/ 0 h 10000"/>
              <a:gd name="connsiteX2" fmla="*/ 6380 w 10000"/>
              <a:gd name="connsiteY2" fmla="*/ 0 h 10000"/>
              <a:gd name="connsiteX3" fmla="*/ 10000 w 10000"/>
              <a:gd name="connsiteY3" fmla="*/ 9893 h 10000"/>
              <a:gd name="connsiteX4" fmla="*/ 10000 w 10000"/>
              <a:gd name="connsiteY4" fmla="*/ 9893 h 10000"/>
              <a:gd name="connsiteX5" fmla="*/ 10000 w 10000"/>
              <a:gd name="connsiteY5" fmla="*/ 9940 h 10000"/>
              <a:gd name="connsiteX6" fmla="*/ 10000 w 10000"/>
              <a:gd name="connsiteY6" fmla="*/ 9940 h 10000"/>
              <a:gd name="connsiteX7" fmla="*/ 10000 w 10000"/>
              <a:gd name="connsiteY7" fmla="*/ 9958 h 10000"/>
              <a:gd name="connsiteX8" fmla="*/ 9991 w 10000"/>
              <a:gd name="connsiteY8" fmla="*/ 9972 h 10000"/>
              <a:gd name="connsiteX9" fmla="*/ 9734 w 10000"/>
              <a:gd name="connsiteY9" fmla="*/ 10000 h 10000"/>
              <a:gd name="connsiteX10" fmla="*/ 7052 w 10000"/>
              <a:gd name="connsiteY10" fmla="*/ 8902 h 10000"/>
              <a:gd name="connsiteX11" fmla="*/ 6805 w 10000"/>
              <a:gd name="connsiteY11" fmla="*/ 8736 h 10000"/>
              <a:gd name="connsiteX12" fmla="*/ 6562 w 10000"/>
              <a:gd name="connsiteY12" fmla="*/ 8564 h 10000"/>
              <a:gd name="connsiteX13" fmla="*/ 6319 w 10000"/>
              <a:gd name="connsiteY13" fmla="*/ 8388 h 10000"/>
              <a:gd name="connsiteX14" fmla="*/ 6085 w 10000"/>
              <a:gd name="connsiteY14" fmla="*/ 8208 h 10000"/>
              <a:gd name="connsiteX15" fmla="*/ 5851 w 10000"/>
              <a:gd name="connsiteY15" fmla="*/ 8022 h 10000"/>
              <a:gd name="connsiteX16" fmla="*/ 5621 w 10000"/>
              <a:gd name="connsiteY16" fmla="*/ 7832 h 10000"/>
              <a:gd name="connsiteX17" fmla="*/ 5392 w 10000"/>
              <a:gd name="connsiteY17" fmla="*/ 7642 h 10000"/>
              <a:gd name="connsiteX18" fmla="*/ 5167 w 10000"/>
              <a:gd name="connsiteY18" fmla="*/ 7443 h 10000"/>
              <a:gd name="connsiteX19" fmla="*/ 5167 w 10000"/>
              <a:gd name="connsiteY19" fmla="*/ 7443 h 10000"/>
              <a:gd name="connsiteX20" fmla="*/ 4905 w 10000"/>
              <a:gd name="connsiteY20" fmla="*/ 7216 h 10000"/>
              <a:gd name="connsiteX21" fmla="*/ 4905 w 10000"/>
              <a:gd name="connsiteY21" fmla="*/ 7216 h 10000"/>
              <a:gd name="connsiteX22" fmla="*/ 4995 w 10000"/>
              <a:gd name="connsiteY22" fmla="*/ 7040 h 10000"/>
              <a:gd name="connsiteX23" fmla="*/ 5077 w 10000"/>
              <a:gd name="connsiteY23" fmla="*/ 6864 h 10000"/>
              <a:gd name="connsiteX24" fmla="*/ 5077 w 10000"/>
              <a:gd name="connsiteY24" fmla="*/ 6864 h 10000"/>
              <a:gd name="connsiteX25" fmla="*/ 5113 w 10000"/>
              <a:gd name="connsiteY25" fmla="*/ 6781 h 10000"/>
              <a:gd name="connsiteX26" fmla="*/ 5144 w 10000"/>
              <a:gd name="connsiteY26" fmla="*/ 6693 h 10000"/>
              <a:gd name="connsiteX27" fmla="*/ 5176 w 10000"/>
              <a:gd name="connsiteY27" fmla="*/ 6605 h 10000"/>
              <a:gd name="connsiteX28" fmla="*/ 5203 w 10000"/>
              <a:gd name="connsiteY28" fmla="*/ 6517 h 10000"/>
              <a:gd name="connsiteX29" fmla="*/ 5225 w 10000"/>
              <a:gd name="connsiteY29" fmla="*/ 6424 h 10000"/>
              <a:gd name="connsiteX30" fmla="*/ 5243 w 10000"/>
              <a:gd name="connsiteY30" fmla="*/ 6336 h 10000"/>
              <a:gd name="connsiteX31" fmla="*/ 5252 w 10000"/>
              <a:gd name="connsiteY31" fmla="*/ 6244 h 10000"/>
              <a:gd name="connsiteX32" fmla="*/ 5261 w 10000"/>
              <a:gd name="connsiteY32" fmla="*/ 6146 h 10000"/>
              <a:gd name="connsiteX33" fmla="*/ 5261 w 10000"/>
              <a:gd name="connsiteY33" fmla="*/ 6146 h 10000"/>
              <a:gd name="connsiteX34" fmla="*/ 5266 w 10000"/>
              <a:gd name="connsiteY34" fmla="*/ 6040 h 10000"/>
              <a:gd name="connsiteX35" fmla="*/ 5257 w 10000"/>
              <a:gd name="connsiteY35" fmla="*/ 5933 h 10000"/>
              <a:gd name="connsiteX36" fmla="*/ 5243 w 10000"/>
              <a:gd name="connsiteY36" fmla="*/ 5831 h 10000"/>
              <a:gd name="connsiteX37" fmla="*/ 5221 w 10000"/>
              <a:gd name="connsiteY37" fmla="*/ 5730 h 10000"/>
              <a:gd name="connsiteX38" fmla="*/ 5189 w 10000"/>
              <a:gd name="connsiteY38" fmla="*/ 5632 h 10000"/>
              <a:gd name="connsiteX39" fmla="*/ 5149 w 10000"/>
              <a:gd name="connsiteY39" fmla="*/ 5535 h 10000"/>
              <a:gd name="connsiteX40" fmla="*/ 5099 w 10000"/>
              <a:gd name="connsiteY40" fmla="*/ 5442 h 10000"/>
              <a:gd name="connsiteX41" fmla="*/ 5045 w 10000"/>
              <a:gd name="connsiteY41" fmla="*/ 5350 h 10000"/>
              <a:gd name="connsiteX42" fmla="*/ 5045 w 10000"/>
              <a:gd name="connsiteY42" fmla="*/ 5350 h 10000"/>
              <a:gd name="connsiteX43" fmla="*/ 4986 w 10000"/>
              <a:gd name="connsiteY43" fmla="*/ 5266 h 10000"/>
              <a:gd name="connsiteX44" fmla="*/ 4923 w 10000"/>
              <a:gd name="connsiteY44" fmla="*/ 5183 h 10000"/>
              <a:gd name="connsiteX45" fmla="*/ 4856 w 10000"/>
              <a:gd name="connsiteY45" fmla="*/ 5109 h 10000"/>
              <a:gd name="connsiteX46" fmla="*/ 4784 w 10000"/>
              <a:gd name="connsiteY46" fmla="*/ 5035 h 10000"/>
              <a:gd name="connsiteX47" fmla="*/ 4707 w 10000"/>
              <a:gd name="connsiteY47" fmla="*/ 4965 h 10000"/>
              <a:gd name="connsiteX48" fmla="*/ 4631 w 10000"/>
              <a:gd name="connsiteY48" fmla="*/ 4900 h 10000"/>
              <a:gd name="connsiteX49" fmla="*/ 4550 w 10000"/>
              <a:gd name="connsiteY49" fmla="*/ 4836 h 10000"/>
              <a:gd name="connsiteX50" fmla="*/ 4469 w 10000"/>
              <a:gd name="connsiteY50" fmla="*/ 4775 h 10000"/>
              <a:gd name="connsiteX51" fmla="*/ 4469 w 10000"/>
              <a:gd name="connsiteY51" fmla="*/ 4775 h 10000"/>
              <a:gd name="connsiteX52" fmla="*/ 4347 w 10000"/>
              <a:gd name="connsiteY52" fmla="*/ 4687 h 10000"/>
              <a:gd name="connsiteX53" fmla="*/ 4226 w 10000"/>
              <a:gd name="connsiteY53" fmla="*/ 4609 h 10000"/>
              <a:gd name="connsiteX54" fmla="*/ 4104 w 10000"/>
              <a:gd name="connsiteY54" fmla="*/ 4530 h 10000"/>
              <a:gd name="connsiteX55" fmla="*/ 3978 w 10000"/>
              <a:gd name="connsiteY55" fmla="*/ 4456 h 10000"/>
              <a:gd name="connsiteX56" fmla="*/ 3852 w 10000"/>
              <a:gd name="connsiteY56" fmla="*/ 4386 h 10000"/>
              <a:gd name="connsiteX57" fmla="*/ 3722 w 10000"/>
              <a:gd name="connsiteY57" fmla="*/ 4317 h 10000"/>
              <a:gd name="connsiteX58" fmla="*/ 3591 w 10000"/>
              <a:gd name="connsiteY58" fmla="*/ 4252 h 10000"/>
              <a:gd name="connsiteX59" fmla="*/ 3461 w 10000"/>
              <a:gd name="connsiteY59" fmla="*/ 4187 h 10000"/>
              <a:gd name="connsiteX60" fmla="*/ 3461 w 10000"/>
              <a:gd name="connsiteY60" fmla="*/ 4187 h 10000"/>
              <a:gd name="connsiteX61" fmla="*/ 3029 w 10000"/>
              <a:gd name="connsiteY61" fmla="*/ 3993 h 10000"/>
              <a:gd name="connsiteX62" fmla="*/ 2601 w 10000"/>
              <a:gd name="connsiteY62" fmla="*/ 3798 h 10000"/>
              <a:gd name="connsiteX63" fmla="*/ 1742 w 10000"/>
              <a:gd name="connsiteY63" fmla="*/ 3414 h 10000"/>
              <a:gd name="connsiteX64" fmla="*/ 1742 w 10000"/>
              <a:gd name="connsiteY64" fmla="*/ 3414 h 10000"/>
              <a:gd name="connsiteX65" fmla="*/ 1598 w 10000"/>
              <a:gd name="connsiteY65" fmla="*/ 3349 h 10000"/>
              <a:gd name="connsiteX66" fmla="*/ 1454 w 10000"/>
              <a:gd name="connsiteY66" fmla="*/ 3279 h 10000"/>
              <a:gd name="connsiteX67" fmla="*/ 1314 w 10000"/>
              <a:gd name="connsiteY67" fmla="*/ 3205 h 10000"/>
              <a:gd name="connsiteX68" fmla="*/ 1179 w 10000"/>
              <a:gd name="connsiteY68" fmla="*/ 3126 h 10000"/>
              <a:gd name="connsiteX69" fmla="*/ 1049 w 10000"/>
              <a:gd name="connsiteY69" fmla="*/ 3038 h 10000"/>
              <a:gd name="connsiteX70" fmla="*/ 923 w 10000"/>
              <a:gd name="connsiteY70" fmla="*/ 2946 h 10000"/>
              <a:gd name="connsiteX71" fmla="*/ 797 w 10000"/>
              <a:gd name="connsiteY71" fmla="*/ 2849 h 10000"/>
              <a:gd name="connsiteX72" fmla="*/ 680 w 10000"/>
              <a:gd name="connsiteY72" fmla="*/ 2742 h 10000"/>
              <a:gd name="connsiteX73" fmla="*/ 680 w 10000"/>
              <a:gd name="connsiteY73" fmla="*/ 2742 h 10000"/>
              <a:gd name="connsiteX74" fmla="*/ 590 w 10000"/>
              <a:gd name="connsiteY74" fmla="*/ 2649 h 10000"/>
              <a:gd name="connsiteX75" fmla="*/ 504 w 10000"/>
              <a:gd name="connsiteY75" fmla="*/ 2557 h 10000"/>
              <a:gd name="connsiteX76" fmla="*/ 423 w 10000"/>
              <a:gd name="connsiteY76" fmla="*/ 2459 h 10000"/>
              <a:gd name="connsiteX77" fmla="*/ 356 w 10000"/>
              <a:gd name="connsiteY77" fmla="*/ 2362 h 10000"/>
              <a:gd name="connsiteX78" fmla="*/ 288 w 10000"/>
              <a:gd name="connsiteY78" fmla="*/ 2260 h 10000"/>
              <a:gd name="connsiteX79" fmla="*/ 230 w 10000"/>
              <a:gd name="connsiteY79" fmla="*/ 2154 h 10000"/>
              <a:gd name="connsiteX80" fmla="*/ 180 w 10000"/>
              <a:gd name="connsiteY80" fmla="*/ 2047 h 10000"/>
              <a:gd name="connsiteX81" fmla="*/ 131 w 10000"/>
              <a:gd name="connsiteY81" fmla="*/ 1941 h 10000"/>
              <a:gd name="connsiteX82" fmla="*/ 95 w 10000"/>
              <a:gd name="connsiteY82" fmla="*/ 1830 h 10000"/>
              <a:gd name="connsiteX83" fmla="*/ 63 w 10000"/>
              <a:gd name="connsiteY83" fmla="*/ 1714 h 10000"/>
              <a:gd name="connsiteX84" fmla="*/ 36 w 10000"/>
              <a:gd name="connsiteY84" fmla="*/ 1593 h 10000"/>
              <a:gd name="connsiteX85" fmla="*/ 18 w 10000"/>
              <a:gd name="connsiteY85" fmla="*/ 1473 h 10000"/>
              <a:gd name="connsiteX86" fmla="*/ 5 w 10000"/>
              <a:gd name="connsiteY86" fmla="*/ 1352 h 10000"/>
              <a:gd name="connsiteX87" fmla="*/ 0 w 10000"/>
              <a:gd name="connsiteY87" fmla="*/ 1227 h 10000"/>
              <a:gd name="connsiteX88" fmla="*/ 0 w 10000"/>
              <a:gd name="connsiteY88" fmla="*/ 1098 h 10000"/>
              <a:gd name="connsiteX89" fmla="*/ 9 w 10000"/>
              <a:gd name="connsiteY89" fmla="*/ 968 h 10000"/>
              <a:gd name="connsiteX90" fmla="*/ 9 w 10000"/>
              <a:gd name="connsiteY90" fmla="*/ 968 h 10000"/>
              <a:gd name="connsiteX91" fmla="*/ 23 w 10000"/>
              <a:gd name="connsiteY91" fmla="*/ 848 h 10000"/>
              <a:gd name="connsiteX92" fmla="*/ 41 w 10000"/>
              <a:gd name="connsiteY92" fmla="*/ 727 h 10000"/>
              <a:gd name="connsiteX93" fmla="*/ 68 w 10000"/>
              <a:gd name="connsiteY93" fmla="*/ 607 h 10000"/>
              <a:gd name="connsiteX94" fmla="*/ 95 w 10000"/>
              <a:gd name="connsiteY94" fmla="*/ 491 h 10000"/>
              <a:gd name="connsiteX95" fmla="*/ 131 w 10000"/>
              <a:gd name="connsiteY95" fmla="*/ 375 h 10000"/>
              <a:gd name="connsiteX96" fmla="*/ 171 w 10000"/>
              <a:gd name="connsiteY96" fmla="*/ 259 h 10000"/>
              <a:gd name="connsiteX97" fmla="*/ 212 w 10000"/>
              <a:gd name="connsiteY97" fmla="*/ 148 h 10000"/>
              <a:gd name="connsiteX98" fmla="*/ 266 w 10000"/>
              <a:gd name="connsiteY98" fmla="*/ 37 h 10000"/>
              <a:gd name="connsiteX99" fmla="*/ 266 w 10000"/>
              <a:gd name="connsiteY99" fmla="*/ 37 h 10000"/>
              <a:gd name="connsiteX100" fmla="*/ 275 w 10000"/>
              <a:gd name="connsiteY100" fmla="*/ 0 h 10000"/>
              <a:gd name="connsiteX101" fmla="*/ 275 w 10000"/>
              <a:gd name="connsiteY101" fmla="*/ 0 h 10000"/>
              <a:gd name="connsiteX0" fmla="*/ 275 w 10000"/>
              <a:gd name="connsiteY0" fmla="*/ 0 h 10000"/>
              <a:gd name="connsiteX1" fmla="*/ 275 w 10000"/>
              <a:gd name="connsiteY1" fmla="*/ 0 h 10000"/>
              <a:gd name="connsiteX2" fmla="*/ 6380 w 10000"/>
              <a:gd name="connsiteY2" fmla="*/ 0 h 10000"/>
              <a:gd name="connsiteX3" fmla="*/ 10000 w 10000"/>
              <a:gd name="connsiteY3" fmla="*/ 9893 h 10000"/>
              <a:gd name="connsiteX4" fmla="*/ 10000 w 10000"/>
              <a:gd name="connsiteY4" fmla="*/ 9893 h 10000"/>
              <a:gd name="connsiteX5" fmla="*/ 10000 w 10000"/>
              <a:gd name="connsiteY5" fmla="*/ 9940 h 10000"/>
              <a:gd name="connsiteX6" fmla="*/ 10000 w 10000"/>
              <a:gd name="connsiteY6" fmla="*/ 9940 h 10000"/>
              <a:gd name="connsiteX7" fmla="*/ 9991 w 10000"/>
              <a:gd name="connsiteY7" fmla="*/ 9972 h 10000"/>
              <a:gd name="connsiteX8" fmla="*/ 9734 w 10000"/>
              <a:gd name="connsiteY8" fmla="*/ 10000 h 10000"/>
              <a:gd name="connsiteX9" fmla="*/ 7052 w 10000"/>
              <a:gd name="connsiteY9" fmla="*/ 8902 h 10000"/>
              <a:gd name="connsiteX10" fmla="*/ 6805 w 10000"/>
              <a:gd name="connsiteY10" fmla="*/ 8736 h 10000"/>
              <a:gd name="connsiteX11" fmla="*/ 6562 w 10000"/>
              <a:gd name="connsiteY11" fmla="*/ 8564 h 10000"/>
              <a:gd name="connsiteX12" fmla="*/ 6319 w 10000"/>
              <a:gd name="connsiteY12" fmla="*/ 8388 h 10000"/>
              <a:gd name="connsiteX13" fmla="*/ 6085 w 10000"/>
              <a:gd name="connsiteY13" fmla="*/ 8208 h 10000"/>
              <a:gd name="connsiteX14" fmla="*/ 5851 w 10000"/>
              <a:gd name="connsiteY14" fmla="*/ 8022 h 10000"/>
              <a:gd name="connsiteX15" fmla="*/ 5621 w 10000"/>
              <a:gd name="connsiteY15" fmla="*/ 7832 h 10000"/>
              <a:gd name="connsiteX16" fmla="*/ 5392 w 10000"/>
              <a:gd name="connsiteY16" fmla="*/ 7642 h 10000"/>
              <a:gd name="connsiteX17" fmla="*/ 5167 w 10000"/>
              <a:gd name="connsiteY17" fmla="*/ 7443 h 10000"/>
              <a:gd name="connsiteX18" fmla="*/ 5167 w 10000"/>
              <a:gd name="connsiteY18" fmla="*/ 7443 h 10000"/>
              <a:gd name="connsiteX19" fmla="*/ 4905 w 10000"/>
              <a:gd name="connsiteY19" fmla="*/ 7216 h 10000"/>
              <a:gd name="connsiteX20" fmla="*/ 4905 w 10000"/>
              <a:gd name="connsiteY20" fmla="*/ 7216 h 10000"/>
              <a:gd name="connsiteX21" fmla="*/ 4995 w 10000"/>
              <a:gd name="connsiteY21" fmla="*/ 7040 h 10000"/>
              <a:gd name="connsiteX22" fmla="*/ 5077 w 10000"/>
              <a:gd name="connsiteY22" fmla="*/ 6864 h 10000"/>
              <a:gd name="connsiteX23" fmla="*/ 5077 w 10000"/>
              <a:gd name="connsiteY23" fmla="*/ 6864 h 10000"/>
              <a:gd name="connsiteX24" fmla="*/ 5113 w 10000"/>
              <a:gd name="connsiteY24" fmla="*/ 6781 h 10000"/>
              <a:gd name="connsiteX25" fmla="*/ 5144 w 10000"/>
              <a:gd name="connsiteY25" fmla="*/ 6693 h 10000"/>
              <a:gd name="connsiteX26" fmla="*/ 5176 w 10000"/>
              <a:gd name="connsiteY26" fmla="*/ 6605 h 10000"/>
              <a:gd name="connsiteX27" fmla="*/ 5203 w 10000"/>
              <a:gd name="connsiteY27" fmla="*/ 6517 h 10000"/>
              <a:gd name="connsiteX28" fmla="*/ 5225 w 10000"/>
              <a:gd name="connsiteY28" fmla="*/ 6424 h 10000"/>
              <a:gd name="connsiteX29" fmla="*/ 5243 w 10000"/>
              <a:gd name="connsiteY29" fmla="*/ 6336 h 10000"/>
              <a:gd name="connsiteX30" fmla="*/ 5252 w 10000"/>
              <a:gd name="connsiteY30" fmla="*/ 6244 h 10000"/>
              <a:gd name="connsiteX31" fmla="*/ 5261 w 10000"/>
              <a:gd name="connsiteY31" fmla="*/ 6146 h 10000"/>
              <a:gd name="connsiteX32" fmla="*/ 5261 w 10000"/>
              <a:gd name="connsiteY32" fmla="*/ 6146 h 10000"/>
              <a:gd name="connsiteX33" fmla="*/ 5266 w 10000"/>
              <a:gd name="connsiteY33" fmla="*/ 6040 h 10000"/>
              <a:gd name="connsiteX34" fmla="*/ 5257 w 10000"/>
              <a:gd name="connsiteY34" fmla="*/ 5933 h 10000"/>
              <a:gd name="connsiteX35" fmla="*/ 5243 w 10000"/>
              <a:gd name="connsiteY35" fmla="*/ 5831 h 10000"/>
              <a:gd name="connsiteX36" fmla="*/ 5221 w 10000"/>
              <a:gd name="connsiteY36" fmla="*/ 5730 h 10000"/>
              <a:gd name="connsiteX37" fmla="*/ 5189 w 10000"/>
              <a:gd name="connsiteY37" fmla="*/ 5632 h 10000"/>
              <a:gd name="connsiteX38" fmla="*/ 5149 w 10000"/>
              <a:gd name="connsiteY38" fmla="*/ 5535 h 10000"/>
              <a:gd name="connsiteX39" fmla="*/ 5099 w 10000"/>
              <a:gd name="connsiteY39" fmla="*/ 5442 h 10000"/>
              <a:gd name="connsiteX40" fmla="*/ 5045 w 10000"/>
              <a:gd name="connsiteY40" fmla="*/ 5350 h 10000"/>
              <a:gd name="connsiteX41" fmla="*/ 5045 w 10000"/>
              <a:gd name="connsiteY41" fmla="*/ 5350 h 10000"/>
              <a:gd name="connsiteX42" fmla="*/ 4986 w 10000"/>
              <a:gd name="connsiteY42" fmla="*/ 5266 h 10000"/>
              <a:gd name="connsiteX43" fmla="*/ 4923 w 10000"/>
              <a:gd name="connsiteY43" fmla="*/ 5183 h 10000"/>
              <a:gd name="connsiteX44" fmla="*/ 4856 w 10000"/>
              <a:gd name="connsiteY44" fmla="*/ 5109 h 10000"/>
              <a:gd name="connsiteX45" fmla="*/ 4784 w 10000"/>
              <a:gd name="connsiteY45" fmla="*/ 5035 h 10000"/>
              <a:gd name="connsiteX46" fmla="*/ 4707 w 10000"/>
              <a:gd name="connsiteY46" fmla="*/ 4965 h 10000"/>
              <a:gd name="connsiteX47" fmla="*/ 4631 w 10000"/>
              <a:gd name="connsiteY47" fmla="*/ 4900 h 10000"/>
              <a:gd name="connsiteX48" fmla="*/ 4550 w 10000"/>
              <a:gd name="connsiteY48" fmla="*/ 4836 h 10000"/>
              <a:gd name="connsiteX49" fmla="*/ 4469 w 10000"/>
              <a:gd name="connsiteY49" fmla="*/ 4775 h 10000"/>
              <a:gd name="connsiteX50" fmla="*/ 4469 w 10000"/>
              <a:gd name="connsiteY50" fmla="*/ 4775 h 10000"/>
              <a:gd name="connsiteX51" fmla="*/ 4347 w 10000"/>
              <a:gd name="connsiteY51" fmla="*/ 4687 h 10000"/>
              <a:gd name="connsiteX52" fmla="*/ 4226 w 10000"/>
              <a:gd name="connsiteY52" fmla="*/ 4609 h 10000"/>
              <a:gd name="connsiteX53" fmla="*/ 4104 w 10000"/>
              <a:gd name="connsiteY53" fmla="*/ 4530 h 10000"/>
              <a:gd name="connsiteX54" fmla="*/ 3978 w 10000"/>
              <a:gd name="connsiteY54" fmla="*/ 4456 h 10000"/>
              <a:gd name="connsiteX55" fmla="*/ 3852 w 10000"/>
              <a:gd name="connsiteY55" fmla="*/ 4386 h 10000"/>
              <a:gd name="connsiteX56" fmla="*/ 3722 w 10000"/>
              <a:gd name="connsiteY56" fmla="*/ 4317 h 10000"/>
              <a:gd name="connsiteX57" fmla="*/ 3591 w 10000"/>
              <a:gd name="connsiteY57" fmla="*/ 4252 h 10000"/>
              <a:gd name="connsiteX58" fmla="*/ 3461 w 10000"/>
              <a:gd name="connsiteY58" fmla="*/ 4187 h 10000"/>
              <a:gd name="connsiteX59" fmla="*/ 3461 w 10000"/>
              <a:gd name="connsiteY59" fmla="*/ 4187 h 10000"/>
              <a:gd name="connsiteX60" fmla="*/ 3029 w 10000"/>
              <a:gd name="connsiteY60" fmla="*/ 3993 h 10000"/>
              <a:gd name="connsiteX61" fmla="*/ 2601 w 10000"/>
              <a:gd name="connsiteY61" fmla="*/ 3798 h 10000"/>
              <a:gd name="connsiteX62" fmla="*/ 1742 w 10000"/>
              <a:gd name="connsiteY62" fmla="*/ 3414 h 10000"/>
              <a:gd name="connsiteX63" fmla="*/ 1742 w 10000"/>
              <a:gd name="connsiteY63" fmla="*/ 3414 h 10000"/>
              <a:gd name="connsiteX64" fmla="*/ 1598 w 10000"/>
              <a:gd name="connsiteY64" fmla="*/ 3349 h 10000"/>
              <a:gd name="connsiteX65" fmla="*/ 1454 w 10000"/>
              <a:gd name="connsiteY65" fmla="*/ 3279 h 10000"/>
              <a:gd name="connsiteX66" fmla="*/ 1314 w 10000"/>
              <a:gd name="connsiteY66" fmla="*/ 3205 h 10000"/>
              <a:gd name="connsiteX67" fmla="*/ 1179 w 10000"/>
              <a:gd name="connsiteY67" fmla="*/ 3126 h 10000"/>
              <a:gd name="connsiteX68" fmla="*/ 1049 w 10000"/>
              <a:gd name="connsiteY68" fmla="*/ 3038 h 10000"/>
              <a:gd name="connsiteX69" fmla="*/ 923 w 10000"/>
              <a:gd name="connsiteY69" fmla="*/ 2946 h 10000"/>
              <a:gd name="connsiteX70" fmla="*/ 797 w 10000"/>
              <a:gd name="connsiteY70" fmla="*/ 2849 h 10000"/>
              <a:gd name="connsiteX71" fmla="*/ 680 w 10000"/>
              <a:gd name="connsiteY71" fmla="*/ 2742 h 10000"/>
              <a:gd name="connsiteX72" fmla="*/ 680 w 10000"/>
              <a:gd name="connsiteY72" fmla="*/ 2742 h 10000"/>
              <a:gd name="connsiteX73" fmla="*/ 590 w 10000"/>
              <a:gd name="connsiteY73" fmla="*/ 2649 h 10000"/>
              <a:gd name="connsiteX74" fmla="*/ 504 w 10000"/>
              <a:gd name="connsiteY74" fmla="*/ 2557 h 10000"/>
              <a:gd name="connsiteX75" fmla="*/ 423 w 10000"/>
              <a:gd name="connsiteY75" fmla="*/ 2459 h 10000"/>
              <a:gd name="connsiteX76" fmla="*/ 356 w 10000"/>
              <a:gd name="connsiteY76" fmla="*/ 2362 h 10000"/>
              <a:gd name="connsiteX77" fmla="*/ 288 w 10000"/>
              <a:gd name="connsiteY77" fmla="*/ 2260 h 10000"/>
              <a:gd name="connsiteX78" fmla="*/ 230 w 10000"/>
              <a:gd name="connsiteY78" fmla="*/ 2154 h 10000"/>
              <a:gd name="connsiteX79" fmla="*/ 180 w 10000"/>
              <a:gd name="connsiteY79" fmla="*/ 2047 h 10000"/>
              <a:gd name="connsiteX80" fmla="*/ 131 w 10000"/>
              <a:gd name="connsiteY80" fmla="*/ 1941 h 10000"/>
              <a:gd name="connsiteX81" fmla="*/ 95 w 10000"/>
              <a:gd name="connsiteY81" fmla="*/ 1830 h 10000"/>
              <a:gd name="connsiteX82" fmla="*/ 63 w 10000"/>
              <a:gd name="connsiteY82" fmla="*/ 1714 h 10000"/>
              <a:gd name="connsiteX83" fmla="*/ 36 w 10000"/>
              <a:gd name="connsiteY83" fmla="*/ 1593 h 10000"/>
              <a:gd name="connsiteX84" fmla="*/ 18 w 10000"/>
              <a:gd name="connsiteY84" fmla="*/ 1473 h 10000"/>
              <a:gd name="connsiteX85" fmla="*/ 5 w 10000"/>
              <a:gd name="connsiteY85" fmla="*/ 1352 h 10000"/>
              <a:gd name="connsiteX86" fmla="*/ 0 w 10000"/>
              <a:gd name="connsiteY86" fmla="*/ 1227 h 10000"/>
              <a:gd name="connsiteX87" fmla="*/ 0 w 10000"/>
              <a:gd name="connsiteY87" fmla="*/ 1098 h 10000"/>
              <a:gd name="connsiteX88" fmla="*/ 9 w 10000"/>
              <a:gd name="connsiteY88" fmla="*/ 968 h 10000"/>
              <a:gd name="connsiteX89" fmla="*/ 9 w 10000"/>
              <a:gd name="connsiteY89" fmla="*/ 968 h 10000"/>
              <a:gd name="connsiteX90" fmla="*/ 23 w 10000"/>
              <a:gd name="connsiteY90" fmla="*/ 848 h 10000"/>
              <a:gd name="connsiteX91" fmla="*/ 41 w 10000"/>
              <a:gd name="connsiteY91" fmla="*/ 727 h 10000"/>
              <a:gd name="connsiteX92" fmla="*/ 68 w 10000"/>
              <a:gd name="connsiteY92" fmla="*/ 607 h 10000"/>
              <a:gd name="connsiteX93" fmla="*/ 95 w 10000"/>
              <a:gd name="connsiteY93" fmla="*/ 491 h 10000"/>
              <a:gd name="connsiteX94" fmla="*/ 131 w 10000"/>
              <a:gd name="connsiteY94" fmla="*/ 375 h 10000"/>
              <a:gd name="connsiteX95" fmla="*/ 171 w 10000"/>
              <a:gd name="connsiteY95" fmla="*/ 259 h 10000"/>
              <a:gd name="connsiteX96" fmla="*/ 212 w 10000"/>
              <a:gd name="connsiteY96" fmla="*/ 148 h 10000"/>
              <a:gd name="connsiteX97" fmla="*/ 266 w 10000"/>
              <a:gd name="connsiteY97" fmla="*/ 37 h 10000"/>
              <a:gd name="connsiteX98" fmla="*/ 266 w 10000"/>
              <a:gd name="connsiteY98" fmla="*/ 37 h 10000"/>
              <a:gd name="connsiteX99" fmla="*/ 275 w 10000"/>
              <a:gd name="connsiteY99" fmla="*/ 0 h 10000"/>
              <a:gd name="connsiteX100" fmla="*/ 275 w 10000"/>
              <a:gd name="connsiteY100" fmla="*/ 0 h 10000"/>
              <a:gd name="connsiteX0" fmla="*/ 275 w 10225"/>
              <a:gd name="connsiteY0" fmla="*/ 0 h 10173"/>
              <a:gd name="connsiteX1" fmla="*/ 275 w 10225"/>
              <a:gd name="connsiteY1" fmla="*/ 0 h 10173"/>
              <a:gd name="connsiteX2" fmla="*/ 6380 w 10225"/>
              <a:gd name="connsiteY2" fmla="*/ 0 h 10173"/>
              <a:gd name="connsiteX3" fmla="*/ 10000 w 10225"/>
              <a:gd name="connsiteY3" fmla="*/ 9893 h 10173"/>
              <a:gd name="connsiteX4" fmla="*/ 10000 w 10225"/>
              <a:gd name="connsiteY4" fmla="*/ 9893 h 10173"/>
              <a:gd name="connsiteX5" fmla="*/ 10000 w 10225"/>
              <a:gd name="connsiteY5" fmla="*/ 9940 h 10173"/>
              <a:gd name="connsiteX6" fmla="*/ 10000 w 10225"/>
              <a:gd name="connsiteY6" fmla="*/ 9940 h 10173"/>
              <a:gd name="connsiteX7" fmla="*/ 9734 w 10225"/>
              <a:gd name="connsiteY7" fmla="*/ 10000 h 10173"/>
              <a:gd name="connsiteX8" fmla="*/ 7052 w 10225"/>
              <a:gd name="connsiteY8" fmla="*/ 8902 h 10173"/>
              <a:gd name="connsiteX9" fmla="*/ 6805 w 10225"/>
              <a:gd name="connsiteY9" fmla="*/ 8736 h 10173"/>
              <a:gd name="connsiteX10" fmla="*/ 6562 w 10225"/>
              <a:gd name="connsiteY10" fmla="*/ 8564 h 10173"/>
              <a:gd name="connsiteX11" fmla="*/ 6319 w 10225"/>
              <a:gd name="connsiteY11" fmla="*/ 8388 h 10173"/>
              <a:gd name="connsiteX12" fmla="*/ 6085 w 10225"/>
              <a:gd name="connsiteY12" fmla="*/ 8208 h 10173"/>
              <a:gd name="connsiteX13" fmla="*/ 5851 w 10225"/>
              <a:gd name="connsiteY13" fmla="*/ 8022 h 10173"/>
              <a:gd name="connsiteX14" fmla="*/ 5621 w 10225"/>
              <a:gd name="connsiteY14" fmla="*/ 7832 h 10173"/>
              <a:gd name="connsiteX15" fmla="*/ 5392 w 10225"/>
              <a:gd name="connsiteY15" fmla="*/ 7642 h 10173"/>
              <a:gd name="connsiteX16" fmla="*/ 5167 w 10225"/>
              <a:gd name="connsiteY16" fmla="*/ 7443 h 10173"/>
              <a:gd name="connsiteX17" fmla="*/ 5167 w 10225"/>
              <a:gd name="connsiteY17" fmla="*/ 7443 h 10173"/>
              <a:gd name="connsiteX18" fmla="*/ 4905 w 10225"/>
              <a:gd name="connsiteY18" fmla="*/ 7216 h 10173"/>
              <a:gd name="connsiteX19" fmla="*/ 4905 w 10225"/>
              <a:gd name="connsiteY19" fmla="*/ 7216 h 10173"/>
              <a:gd name="connsiteX20" fmla="*/ 4995 w 10225"/>
              <a:gd name="connsiteY20" fmla="*/ 7040 h 10173"/>
              <a:gd name="connsiteX21" fmla="*/ 5077 w 10225"/>
              <a:gd name="connsiteY21" fmla="*/ 6864 h 10173"/>
              <a:gd name="connsiteX22" fmla="*/ 5077 w 10225"/>
              <a:gd name="connsiteY22" fmla="*/ 6864 h 10173"/>
              <a:gd name="connsiteX23" fmla="*/ 5113 w 10225"/>
              <a:gd name="connsiteY23" fmla="*/ 6781 h 10173"/>
              <a:gd name="connsiteX24" fmla="*/ 5144 w 10225"/>
              <a:gd name="connsiteY24" fmla="*/ 6693 h 10173"/>
              <a:gd name="connsiteX25" fmla="*/ 5176 w 10225"/>
              <a:gd name="connsiteY25" fmla="*/ 6605 h 10173"/>
              <a:gd name="connsiteX26" fmla="*/ 5203 w 10225"/>
              <a:gd name="connsiteY26" fmla="*/ 6517 h 10173"/>
              <a:gd name="connsiteX27" fmla="*/ 5225 w 10225"/>
              <a:gd name="connsiteY27" fmla="*/ 6424 h 10173"/>
              <a:gd name="connsiteX28" fmla="*/ 5243 w 10225"/>
              <a:gd name="connsiteY28" fmla="*/ 6336 h 10173"/>
              <a:gd name="connsiteX29" fmla="*/ 5252 w 10225"/>
              <a:gd name="connsiteY29" fmla="*/ 6244 h 10173"/>
              <a:gd name="connsiteX30" fmla="*/ 5261 w 10225"/>
              <a:gd name="connsiteY30" fmla="*/ 6146 h 10173"/>
              <a:gd name="connsiteX31" fmla="*/ 5261 w 10225"/>
              <a:gd name="connsiteY31" fmla="*/ 6146 h 10173"/>
              <a:gd name="connsiteX32" fmla="*/ 5266 w 10225"/>
              <a:gd name="connsiteY32" fmla="*/ 6040 h 10173"/>
              <a:gd name="connsiteX33" fmla="*/ 5257 w 10225"/>
              <a:gd name="connsiteY33" fmla="*/ 5933 h 10173"/>
              <a:gd name="connsiteX34" fmla="*/ 5243 w 10225"/>
              <a:gd name="connsiteY34" fmla="*/ 5831 h 10173"/>
              <a:gd name="connsiteX35" fmla="*/ 5221 w 10225"/>
              <a:gd name="connsiteY35" fmla="*/ 5730 h 10173"/>
              <a:gd name="connsiteX36" fmla="*/ 5189 w 10225"/>
              <a:gd name="connsiteY36" fmla="*/ 5632 h 10173"/>
              <a:gd name="connsiteX37" fmla="*/ 5149 w 10225"/>
              <a:gd name="connsiteY37" fmla="*/ 5535 h 10173"/>
              <a:gd name="connsiteX38" fmla="*/ 5099 w 10225"/>
              <a:gd name="connsiteY38" fmla="*/ 5442 h 10173"/>
              <a:gd name="connsiteX39" fmla="*/ 5045 w 10225"/>
              <a:gd name="connsiteY39" fmla="*/ 5350 h 10173"/>
              <a:gd name="connsiteX40" fmla="*/ 5045 w 10225"/>
              <a:gd name="connsiteY40" fmla="*/ 5350 h 10173"/>
              <a:gd name="connsiteX41" fmla="*/ 4986 w 10225"/>
              <a:gd name="connsiteY41" fmla="*/ 5266 h 10173"/>
              <a:gd name="connsiteX42" fmla="*/ 4923 w 10225"/>
              <a:gd name="connsiteY42" fmla="*/ 5183 h 10173"/>
              <a:gd name="connsiteX43" fmla="*/ 4856 w 10225"/>
              <a:gd name="connsiteY43" fmla="*/ 5109 h 10173"/>
              <a:gd name="connsiteX44" fmla="*/ 4784 w 10225"/>
              <a:gd name="connsiteY44" fmla="*/ 5035 h 10173"/>
              <a:gd name="connsiteX45" fmla="*/ 4707 w 10225"/>
              <a:gd name="connsiteY45" fmla="*/ 4965 h 10173"/>
              <a:gd name="connsiteX46" fmla="*/ 4631 w 10225"/>
              <a:gd name="connsiteY46" fmla="*/ 4900 h 10173"/>
              <a:gd name="connsiteX47" fmla="*/ 4550 w 10225"/>
              <a:gd name="connsiteY47" fmla="*/ 4836 h 10173"/>
              <a:gd name="connsiteX48" fmla="*/ 4469 w 10225"/>
              <a:gd name="connsiteY48" fmla="*/ 4775 h 10173"/>
              <a:gd name="connsiteX49" fmla="*/ 4469 w 10225"/>
              <a:gd name="connsiteY49" fmla="*/ 4775 h 10173"/>
              <a:gd name="connsiteX50" fmla="*/ 4347 w 10225"/>
              <a:gd name="connsiteY50" fmla="*/ 4687 h 10173"/>
              <a:gd name="connsiteX51" fmla="*/ 4226 w 10225"/>
              <a:gd name="connsiteY51" fmla="*/ 4609 h 10173"/>
              <a:gd name="connsiteX52" fmla="*/ 4104 w 10225"/>
              <a:gd name="connsiteY52" fmla="*/ 4530 h 10173"/>
              <a:gd name="connsiteX53" fmla="*/ 3978 w 10225"/>
              <a:gd name="connsiteY53" fmla="*/ 4456 h 10173"/>
              <a:gd name="connsiteX54" fmla="*/ 3852 w 10225"/>
              <a:gd name="connsiteY54" fmla="*/ 4386 h 10173"/>
              <a:gd name="connsiteX55" fmla="*/ 3722 w 10225"/>
              <a:gd name="connsiteY55" fmla="*/ 4317 h 10173"/>
              <a:gd name="connsiteX56" fmla="*/ 3591 w 10225"/>
              <a:gd name="connsiteY56" fmla="*/ 4252 h 10173"/>
              <a:gd name="connsiteX57" fmla="*/ 3461 w 10225"/>
              <a:gd name="connsiteY57" fmla="*/ 4187 h 10173"/>
              <a:gd name="connsiteX58" fmla="*/ 3461 w 10225"/>
              <a:gd name="connsiteY58" fmla="*/ 4187 h 10173"/>
              <a:gd name="connsiteX59" fmla="*/ 3029 w 10225"/>
              <a:gd name="connsiteY59" fmla="*/ 3993 h 10173"/>
              <a:gd name="connsiteX60" fmla="*/ 2601 w 10225"/>
              <a:gd name="connsiteY60" fmla="*/ 3798 h 10173"/>
              <a:gd name="connsiteX61" fmla="*/ 1742 w 10225"/>
              <a:gd name="connsiteY61" fmla="*/ 3414 h 10173"/>
              <a:gd name="connsiteX62" fmla="*/ 1742 w 10225"/>
              <a:gd name="connsiteY62" fmla="*/ 3414 h 10173"/>
              <a:gd name="connsiteX63" fmla="*/ 1598 w 10225"/>
              <a:gd name="connsiteY63" fmla="*/ 3349 h 10173"/>
              <a:gd name="connsiteX64" fmla="*/ 1454 w 10225"/>
              <a:gd name="connsiteY64" fmla="*/ 3279 h 10173"/>
              <a:gd name="connsiteX65" fmla="*/ 1314 w 10225"/>
              <a:gd name="connsiteY65" fmla="*/ 3205 h 10173"/>
              <a:gd name="connsiteX66" fmla="*/ 1179 w 10225"/>
              <a:gd name="connsiteY66" fmla="*/ 3126 h 10173"/>
              <a:gd name="connsiteX67" fmla="*/ 1049 w 10225"/>
              <a:gd name="connsiteY67" fmla="*/ 3038 h 10173"/>
              <a:gd name="connsiteX68" fmla="*/ 923 w 10225"/>
              <a:gd name="connsiteY68" fmla="*/ 2946 h 10173"/>
              <a:gd name="connsiteX69" fmla="*/ 797 w 10225"/>
              <a:gd name="connsiteY69" fmla="*/ 2849 h 10173"/>
              <a:gd name="connsiteX70" fmla="*/ 680 w 10225"/>
              <a:gd name="connsiteY70" fmla="*/ 2742 h 10173"/>
              <a:gd name="connsiteX71" fmla="*/ 680 w 10225"/>
              <a:gd name="connsiteY71" fmla="*/ 2742 h 10173"/>
              <a:gd name="connsiteX72" fmla="*/ 590 w 10225"/>
              <a:gd name="connsiteY72" fmla="*/ 2649 h 10173"/>
              <a:gd name="connsiteX73" fmla="*/ 504 w 10225"/>
              <a:gd name="connsiteY73" fmla="*/ 2557 h 10173"/>
              <a:gd name="connsiteX74" fmla="*/ 423 w 10225"/>
              <a:gd name="connsiteY74" fmla="*/ 2459 h 10173"/>
              <a:gd name="connsiteX75" fmla="*/ 356 w 10225"/>
              <a:gd name="connsiteY75" fmla="*/ 2362 h 10173"/>
              <a:gd name="connsiteX76" fmla="*/ 288 w 10225"/>
              <a:gd name="connsiteY76" fmla="*/ 2260 h 10173"/>
              <a:gd name="connsiteX77" fmla="*/ 230 w 10225"/>
              <a:gd name="connsiteY77" fmla="*/ 2154 h 10173"/>
              <a:gd name="connsiteX78" fmla="*/ 180 w 10225"/>
              <a:gd name="connsiteY78" fmla="*/ 2047 h 10173"/>
              <a:gd name="connsiteX79" fmla="*/ 131 w 10225"/>
              <a:gd name="connsiteY79" fmla="*/ 1941 h 10173"/>
              <a:gd name="connsiteX80" fmla="*/ 95 w 10225"/>
              <a:gd name="connsiteY80" fmla="*/ 1830 h 10173"/>
              <a:gd name="connsiteX81" fmla="*/ 63 w 10225"/>
              <a:gd name="connsiteY81" fmla="*/ 1714 h 10173"/>
              <a:gd name="connsiteX82" fmla="*/ 36 w 10225"/>
              <a:gd name="connsiteY82" fmla="*/ 1593 h 10173"/>
              <a:gd name="connsiteX83" fmla="*/ 18 w 10225"/>
              <a:gd name="connsiteY83" fmla="*/ 1473 h 10173"/>
              <a:gd name="connsiteX84" fmla="*/ 5 w 10225"/>
              <a:gd name="connsiteY84" fmla="*/ 1352 h 10173"/>
              <a:gd name="connsiteX85" fmla="*/ 0 w 10225"/>
              <a:gd name="connsiteY85" fmla="*/ 1227 h 10173"/>
              <a:gd name="connsiteX86" fmla="*/ 0 w 10225"/>
              <a:gd name="connsiteY86" fmla="*/ 1098 h 10173"/>
              <a:gd name="connsiteX87" fmla="*/ 9 w 10225"/>
              <a:gd name="connsiteY87" fmla="*/ 968 h 10173"/>
              <a:gd name="connsiteX88" fmla="*/ 9 w 10225"/>
              <a:gd name="connsiteY88" fmla="*/ 968 h 10173"/>
              <a:gd name="connsiteX89" fmla="*/ 23 w 10225"/>
              <a:gd name="connsiteY89" fmla="*/ 848 h 10173"/>
              <a:gd name="connsiteX90" fmla="*/ 41 w 10225"/>
              <a:gd name="connsiteY90" fmla="*/ 727 h 10173"/>
              <a:gd name="connsiteX91" fmla="*/ 68 w 10225"/>
              <a:gd name="connsiteY91" fmla="*/ 607 h 10173"/>
              <a:gd name="connsiteX92" fmla="*/ 95 w 10225"/>
              <a:gd name="connsiteY92" fmla="*/ 491 h 10173"/>
              <a:gd name="connsiteX93" fmla="*/ 131 w 10225"/>
              <a:gd name="connsiteY93" fmla="*/ 375 h 10173"/>
              <a:gd name="connsiteX94" fmla="*/ 171 w 10225"/>
              <a:gd name="connsiteY94" fmla="*/ 259 h 10173"/>
              <a:gd name="connsiteX95" fmla="*/ 212 w 10225"/>
              <a:gd name="connsiteY95" fmla="*/ 148 h 10173"/>
              <a:gd name="connsiteX96" fmla="*/ 266 w 10225"/>
              <a:gd name="connsiteY96" fmla="*/ 37 h 10173"/>
              <a:gd name="connsiteX97" fmla="*/ 266 w 10225"/>
              <a:gd name="connsiteY97" fmla="*/ 37 h 10173"/>
              <a:gd name="connsiteX98" fmla="*/ 275 w 10225"/>
              <a:gd name="connsiteY98" fmla="*/ 0 h 10173"/>
              <a:gd name="connsiteX99" fmla="*/ 275 w 10225"/>
              <a:gd name="connsiteY99" fmla="*/ 0 h 10173"/>
              <a:gd name="connsiteX0" fmla="*/ 275 w 10000"/>
              <a:gd name="connsiteY0" fmla="*/ 0 h 10000"/>
              <a:gd name="connsiteX1" fmla="*/ 275 w 10000"/>
              <a:gd name="connsiteY1" fmla="*/ 0 h 10000"/>
              <a:gd name="connsiteX2" fmla="*/ 6380 w 10000"/>
              <a:gd name="connsiteY2" fmla="*/ 0 h 10000"/>
              <a:gd name="connsiteX3" fmla="*/ 10000 w 10000"/>
              <a:gd name="connsiteY3" fmla="*/ 9893 h 10000"/>
              <a:gd name="connsiteX4" fmla="*/ 10000 w 10000"/>
              <a:gd name="connsiteY4" fmla="*/ 9893 h 10000"/>
              <a:gd name="connsiteX5" fmla="*/ 10000 w 10000"/>
              <a:gd name="connsiteY5" fmla="*/ 9940 h 10000"/>
              <a:gd name="connsiteX6" fmla="*/ 9734 w 10000"/>
              <a:gd name="connsiteY6" fmla="*/ 10000 h 10000"/>
              <a:gd name="connsiteX7" fmla="*/ 7052 w 10000"/>
              <a:gd name="connsiteY7" fmla="*/ 8902 h 10000"/>
              <a:gd name="connsiteX8" fmla="*/ 6805 w 10000"/>
              <a:gd name="connsiteY8" fmla="*/ 8736 h 10000"/>
              <a:gd name="connsiteX9" fmla="*/ 6562 w 10000"/>
              <a:gd name="connsiteY9" fmla="*/ 8564 h 10000"/>
              <a:gd name="connsiteX10" fmla="*/ 6319 w 10000"/>
              <a:gd name="connsiteY10" fmla="*/ 8388 h 10000"/>
              <a:gd name="connsiteX11" fmla="*/ 6085 w 10000"/>
              <a:gd name="connsiteY11" fmla="*/ 8208 h 10000"/>
              <a:gd name="connsiteX12" fmla="*/ 5851 w 10000"/>
              <a:gd name="connsiteY12" fmla="*/ 8022 h 10000"/>
              <a:gd name="connsiteX13" fmla="*/ 5621 w 10000"/>
              <a:gd name="connsiteY13" fmla="*/ 7832 h 10000"/>
              <a:gd name="connsiteX14" fmla="*/ 5392 w 10000"/>
              <a:gd name="connsiteY14" fmla="*/ 7642 h 10000"/>
              <a:gd name="connsiteX15" fmla="*/ 5167 w 10000"/>
              <a:gd name="connsiteY15" fmla="*/ 7443 h 10000"/>
              <a:gd name="connsiteX16" fmla="*/ 5167 w 10000"/>
              <a:gd name="connsiteY16" fmla="*/ 7443 h 10000"/>
              <a:gd name="connsiteX17" fmla="*/ 4905 w 10000"/>
              <a:gd name="connsiteY17" fmla="*/ 7216 h 10000"/>
              <a:gd name="connsiteX18" fmla="*/ 4905 w 10000"/>
              <a:gd name="connsiteY18" fmla="*/ 7216 h 10000"/>
              <a:gd name="connsiteX19" fmla="*/ 4995 w 10000"/>
              <a:gd name="connsiteY19" fmla="*/ 7040 h 10000"/>
              <a:gd name="connsiteX20" fmla="*/ 5077 w 10000"/>
              <a:gd name="connsiteY20" fmla="*/ 6864 h 10000"/>
              <a:gd name="connsiteX21" fmla="*/ 5077 w 10000"/>
              <a:gd name="connsiteY21" fmla="*/ 6864 h 10000"/>
              <a:gd name="connsiteX22" fmla="*/ 5113 w 10000"/>
              <a:gd name="connsiteY22" fmla="*/ 6781 h 10000"/>
              <a:gd name="connsiteX23" fmla="*/ 5144 w 10000"/>
              <a:gd name="connsiteY23" fmla="*/ 6693 h 10000"/>
              <a:gd name="connsiteX24" fmla="*/ 5176 w 10000"/>
              <a:gd name="connsiteY24" fmla="*/ 6605 h 10000"/>
              <a:gd name="connsiteX25" fmla="*/ 5203 w 10000"/>
              <a:gd name="connsiteY25" fmla="*/ 6517 h 10000"/>
              <a:gd name="connsiteX26" fmla="*/ 5225 w 10000"/>
              <a:gd name="connsiteY26" fmla="*/ 6424 h 10000"/>
              <a:gd name="connsiteX27" fmla="*/ 5243 w 10000"/>
              <a:gd name="connsiteY27" fmla="*/ 6336 h 10000"/>
              <a:gd name="connsiteX28" fmla="*/ 5252 w 10000"/>
              <a:gd name="connsiteY28" fmla="*/ 6244 h 10000"/>
              <a:gd name="connsiteX29" fmla="*/ 5261 w 10000"/>
              <a:gd name="connsiteY29" fmla="*/ 6146 h 10000"/>
              <a:gd name="connsiteX30" fmla="*/ 5261 w 10000"/>
              <a:gd name="connsiteY30" fmla="*/ 6146 h 10000"/>
              <a:gd name="connsiteX31" fmla="*/ 5266 w 10000"/>
              <a:gd name="connsiteY31" fmla="*/ 6040 h 10000"/>
              <a:gd name="connsiteX32" fmla="*/ 5257 w 10000"/>
              <a:gd name="connsiteY32" fmla="*/ 5933 h 10000"/>
              <a:gd name="connsiteX33" fmla="*/ 5243 w 10000"/>
              <a:gd name="connsiteY33" fmla="*/ 5831 h 10000"/>
              <a:gd name="connsiteX34" fmla="*/ 5221 w 10000"/>
              <a:gd name="connsiteY34" fmla="*/ 5730 h 10000"/>
              <a:gd name="connsiteX35" fmla="*/ 5189 w 10000"/>
              <a:gd name="connsiteY35" fmla="*/ 5632 h 10000"/>
              <a:gd name="connsiteX36" fmla="*/ 5149 w 10000"/>
              <a:gd name="connsiteY36" fmla="*/ 5535 h 10000"/>
              <a:gd name="connsiteX37" fmla="*/ 5099 w 10000"/>
              <a:gd name="connsiteY37" fmla="*/ 5442 h 10000"/>
              <a:gd name="connsiteX38" fmla="*/ 5045 w 10000"/>
              <a:gd name="connsiteY38" fmla="*/ 5350 h 10000"/>
              <a:gd name="connsiteX39" fmla="*/ 5045 w 10000"/>
              <a:gd name="connsiteY39" fmla="*/ 5350 h 10000"/>
              <a:gd name="connsiteX40" fmla="*/ 4986 w 10000"/>
              <a:gd name="connsiteY40" fmla="*/ 5266 h 10000"/>
              <a:gd name="connsiteX41" fmla="*/ 4923 w 10000"/>
              <a:gd name="connsiteY41" fmla="*/ 5183 h 10000"/>
              <a:gd name="connsiteX42" fmla="*/ 4856 w 10000"/>
              <a:gd name="connsiteY42" fmla="*/ 5109 h 10000"/>
              <a:gd name="connsiteX43" fmla="*/ 4784 w 10000"/>
              <a:gd name="connsiteY43" fmla="*/ 5035 h 10000"/>
              <a:gd name="connsiteX44" fmla="*/ 4707 w 10000"/>
              <a:gd name="connsiteY44" fmla="*/ 4965 h 10000"/>
              <a:gd name="connsiteX45" fmla="*/ 4631 w 10000"/>
              <a:gd name="connsiteY45" fmla="*/ 4900 h 10000"/>
              <a:gd name="connsiteX46" fmla="*/ 4550 w 10000"/>
              <a:gd name="connsiteY46" fmla="*/ 4836 h 10000"/>
              <a:gd name="connsiteX47" fmla="*/ 4469 w 10000"/>
              <a:gd name="connsiteY47" fmla="*/ 4775 h 10000"/>
              <a:gd name="connsiteX48" fmla="*/ 4469 w 10000"/>
              <a:gd name="connsiteY48" fmla="*/ 4775 h 10000"/>
              <a:gd name="connsiteX49" fmla="*/ 4347 w 10000"/>
              <a:gd name="connsiteY49" fmla="*/ 4687 h 10000"/>
              <a:gd name="connsiteX50" fmla="*/ 4226 w 10000"/>
              <a:gd name="connsiteY50" fmla="*/ 4609 h 10000"/>
              <a:gd name="connsiteX51" fmla="*/ 4104 w 10000"/>
              <a:gd name="connsiteY51" fmla="*/ 4530 h 10000"/>
              <a:gd name="connsiteX52" fmla="*/ 3978 w 10000"/>
              <a:gd name="connsiteY52" fmla="*/ 4456 h 10000"/>
              <a:gd name="connsiteX53" fmla="*/ 3852 w 10000"/>
              <a:gd name="connsiteY53" fmla="*/ 4386 h 10000"/>
              <a:gd name="connsiteX54" fmla="*/ 3722 w 10000"/>
              <a:gd name="connsiteY54" fmla="*/ 4317 h 10000"/>
              <a:gd name="connsiteX55" fmla="*/ 3591 w 10000"/>
              <a:gd name="connsiteY55" fmla="*/ 4252 h 10000"/>
              <a:gd name="connsiteX56" fmla="*/ 3461 w 10000"/>
              <a:gd name="connsiteY56" fmla="*/ 4187 h 10000"/>
              <a:gd name="connsiteX57" fmla="*/ 3461 w 10000"/>
              <a:gd name="connsiteY57" fmla="*/ 4187 h 10000"/>
              <a:gd name="connsiteX58" fmla="*/ 3029 w 10000"/>
              <a:gd name="connsiteY58" fmla="*/ 3993 h 10000"/>
              <a:gd name="connsiteX59" fmla="*/ 2601 w 10000"/>
              <a:gd name="connsiteY59" fmla="*/ 3798 h 10000"/>
              <a:gd name="connsiteX60" fmla="*/ 1742 w 10000"/>
              <a:gd name="connsiteY60" fmla="*/ 3414 h 10000"/>
              <a:gd name="connsiteX61" fmla="*/ 1742 w 10000"/>
              <a:gd name="connsiteY61" fmla="*/ 3414 h 10000"/>
              <a:gd name="connsiteX62" fmla="*/ 1598 w 10000"/>
              <a:gd name="connsiteY62" fmla="*/ 3349 h 10000"/>
              <a:gd name="connsiteX63" fmla="*/ 1454 w 10000"/>
              <a:gd name="connsiteY63" fmla="*/ 3279 h 10000"/>
              <a:gd name="connsiteX64" fmla="*/ 1314 w 10000"/>
              <a:gd name="connsiteY64" fmla="*/ 3205 h 10000"/>
              <a:gd name="connsiteX65" fmla="*/ 1179 w 10000"/>
              <a:gd name="connsiteY65" fmla="*/ 3126 h 10000"/>
              <a:gd name="connsiteX66" fmla="*/ 1049 w 10000"/>
              <a:gd name="connsiteY66" fmla="*/ 3038 h 10000"/>
              <a:gd name="connsiteX67" fmla="*/ 923 w 10000"/>
              <a:gd name="connsiteY67" fmla="*/ 2946 h 10000"/>
              <a:gd name="connsiteX68" fmla="*/ 797 w 10000"/>
              <a:gd name="connsiteY68" fmla="*/ 2849 h 10000"/>
              <a:gd name="connsiteX69" fmla="*/ 680 w 10000"/>
              <a:gd name="connsiteY69" fmla="*/ 2742 h 10000"/>
              <a:gd name="connsiteX70" fmla="*/ 680 w 10000"/>
              <a:gd name="connsiteY70" fmla="*/ 2742 h 10000"/>
              <a:gd name="connsiteX71" fmla="*/ 590 w 10000"/>
              <a:gd name="connsiteY71" fmla="*/ 2649 h 10000"/>
              <a:gd name="connsiteX72" fmla="*/ 504 w 10000"/>
              <a:gd name="connsiteY72" fmla="*/ 2557 h 10000"/>
              <a:gd name="connsiteX73" fmla="*/ 423 w 10000"/>
              <a:gd name="connsiteY73" fmla="*/ 2459 h 10000"/>
              <a:gd name="connsiteX74" fmla="*/ 356 w 10000"/>
              <a:gd name="connsiteY74" fmla="*/ 2362 h 10000"/>
              <a:gd name="connsiteX75" fmla="*/ 288 w 10000"/>
              <a:gd name="connsiteY75" fmla="*/ 2260 h 10000"/>
              <a:gd name="connsiteX76" fmla="*/ 230 w 10000"/>
              <a:gd name="connsiteY76" fmla="*/ 2154 h 10000"/>
              <a:gd name="connsiteX77" fmla="*/ 180 w 10000"/>
              <a:gd name="connsiteY77" fmla="*/ 2047 h 10000"/>
              <a:gd name="connsiteX78" fmla="*/ 131 w 10000"/>
              <a:gd name="connsiteY78" fmla="*/ 1941 h 10000"/>
              <a:gd name="connsiteX79" fmla="*/ 95 w 10000"/>
              <a:gd name="connsiteY79" fmla="*/ 1830 h 10000"/>
              <a:gd name="connsiteX80" fmla="*/ 63 w 10000"/>
              <a:gd name="connsiteY80" fmla="*/ 1714 h 10000"/>
              <a:gd name="connsiteX81" fmla="*/ 36 w 10000"/>
              <a:gd name="connsiteY81" fmla="*/ 1593 h 10000"/>
              <a:gd name="connsiteX82" fmla="*/ 18 w 10000"/>
              <a:gd name="connsiteY82" fmla="*/ 1473 h 10000"/>
              <a:gd name="connsiteX83" fmla="*/ 5 w 10000"/>
              <a:gd name="connsiteY83" fmla="*/ 1352 h 10000"/>
              <a:gd name="connsiteX84" fmla="*/ 0 w 10000"/>
              <a:gd name="connsiteY84" fmla="*/ 1227 h 10000"/>
              <a:gd name="connsiteX85" fmla="*/ 0 w 10000"/>
              <a:gd name="connsiteY85" fmla="*/ 1098 h 10000"/>
              <a:gd name="connsiteX86" fmla="*/ 9 w 10000"/>
              <a:gd name="connsiteY86" fmla="*/ 968 h 10000"/>
              <a:gd name="connsiteX87" fmla="*/ 9 w 10000"/>
              <a:gd name="connsiteY87" fmla="*/ 968 h 10000"/>
              <a:gd name="connsiteX88" fmla="*/ 23 w 10000"/>
              <a:gd name="connsiteY88" fmla="*/ 848 h 10000"/>
              <a:gd name="connsiteX89" fmla="*/ 41 w 10000"/>
              <a:gd name="connsiteY89" fmla="*/ 727 h 10000"/>
              <a:gd name="connsiteX90" fmla="*/ 68 w 10000"/>
              <a:gd name="connsiteY90" fmla="*/ 607 h 10000"/>
              <a:gd name="connsiteX91" fmla="*/ 95 w 10000"/>
              <a:gd name="connsiteY91" fmla="*/ 491 h 10000"/>
              <a:gd name="connsiteX92" fmla="*/ 131 w 10000"/>
              <a:gd name="connsiteY92" fmla="*/ 375 h 10000"/>
              <a:gd name="connsiteX93" fmla="*/ 171 w 10000"/>
              <a:gd name="connsiteY93" fmla="*/ 259 h 10000"/>
              <a:gd name="connsiteX94" fmla="*/ 212 w 10000"/>
              <a:gd name="connsiteY94" fmla="*/ 148 h 10000"/>
              <a:gd name="connsiteX95" fmla="*/ 266 w 10000"/>
              <a:gd name="connsiteY95" fmla="*/ 37 h 10000"/>
              <a:gd name="connsiteX96" fmla="*/ 266 w 10000"/>
              <a:gd name="connsiteY96" fmla="*/ 37 h 10000"/>
              <a:gd name="connsiteX97" fmla="*/ 275 w 10000"/>
              <a:gd name="connsiteY97" fmla="*/ 0 h 10000"/>
              <a:gd name="connsiteX98" fmla="*/ 275 w 10000"/>
              <a:gd name="connsiteY98" fmla="*/ 0 h 10000"/>
              <a:gd name="connsiteX0" fmla="*/ 275 w 10000"/>
              <a:gd name="connsiteY0" fmla="*/ 0 h 10000"/>
              <a:gd name="connsiteX1" fmla="*/ 275 w 10000"/>
              <a:gd name="connsiteY1" fmla="*/ 0 h 10000"/>
              <a:gd name="connsiteX2" fmla="*/ 6380 w 10000"/>
              <a:gd name="connsiteY2" fmla="*/ 0 h 10000"/>
              <a:gd name="connsiteX3" fmla="*/ 10000 w 10000"/>
              <a:gd name="connsiteY3" fmla="*/ 9893 h 10000"/>
              <a:gd name="connsiteX4" fmla="*/ 10000 w 10000"/>
              <a:gd name="connsiteY4" fmla="*/ 9893 h 10000"/>
              <a:gd name="connsiteX5" fmla="*/ 9734 w 10000"/>
              <a:gd name="connsiteY5" fmla="*/ 10000 h 10000"/>
              <a:gd name="connsiteX6" fmla="*/ 7052 w 10000"/>
              <a:gd name="connsiteY6" fmla="*/ 8902 h 10000"/>
              <a:gd name="connsiteX7" fmla="*/ 6805 w 10000"/>
              <a:gd name="connsiteY7" fmla="*/ 8736 h 10000"/>
              <a:gd name="connsiteX8" fmla="*/ 6562 w 10000"/>
              <a:gd name="connsiteY8" fmla="*/ 8564 h 10000"/>
              <a:gd name="connsiteX9" fmla="*/ 6319 w 10000"/>
              <a:gd name="connsiteY9" fmla="*/ 8388 h 10000"/>
              <a:gd name="connsiteX10" fmla="*/ 6085 w 10000"/>
              <a:gd name="connsiteY10" fmla="*/ 8208 h 10000"/>
              <a:gd name="connsiteX11" fmla="*/ 5851 w 10000"/>
              <a:gd name="connsiteY11" fmla="*/ 8022 h 10000"/>
              <a:gd name="connsiteX12" fmla="*/ 5621 w 10000"/>
              <a:gd name="connsiteY12" fmla="*/ 7832 h 10000"/>
              <a:gd name="connsiteX13" fmla="*/ 5392 w 10000"/>
              <a:gd name="connsiteY13" fmla="*/ 7642 h 10000"/>
              <a:gd name="connsiteX14" fmla="*/ 5167 w 10000"/>
              <a:gd name="connsiteY14" fmla="*/ 7443 h 10000"/>
              <a:gd name="connsiteX15" fmla="*/ 5167 w 10000"/>
              <a:gd name="connsiteY15" fmla="*/ 7443 h 10000"/>
              <a:gd name="connsiteX16" fmla="*/ 4905 w 10000"/>
              <a:gd name="connsiteY16" fmla="*/ 7216 h 10000"/>
              <a:gd name="connsiteX17" fmla="*/ 4905 w 10000"/>
              <a:gd name="connsiteY17" fmla="*/ 7216 h 10000"/>
              <a:gd name="connsiteX18" fmla="*/ 4995 w 10000"/>
              <a:gd name="connsiteY18" fmla="*/ 7040 h 10000"/>
              <a:gd name="connsiteX19" fmla="*/ 5077 w 10000"/>
              <a:gd name="connsiteY19" fmla="*/ 6864 h 10000"/>
              <a:gd name="connsiteX20" fmla="*/ 5077 w 10000"/>
              <a:gd name="connsiteY20" fmla="*/ 6864 h 10000"/>
              <a:gd name="connsiteX21" fmla="*/ 5113 w 10000"/>
              <a:gd name="connsiteY21" fmla="*/ 6781 h 10000"/>
              <a:gd name="connsiteX22" fmla="*/ 5144 w 10000"/>
              <a:gd name="connsiteY22" fmla="*/ 6693 h 10000"/>
              <a:gd name="connsiteX23" fmla="*/ 5176 w 10000"/>
              <a:gd name="connsiteY23" fmla="*/ 6605 h 10000"/>
              <a:gd name="connsiteX24" fmla="*/ 5203 w 10000"/>
              <a:gd name="connsiteY24" fmla="*/ 6517 h 10000"/>
              <a:gd name="connsiteX25" fmla="*/ 5225 w 10000"/>
              <a:gd name="connsiteY25" fmla="*/ 6424 h 10000"/>
              <a:gd name="connsiteX26" fmla="*/ 5243 w 10000"/>
              <a:gd name="connsiteY26" fmla="*/ 6336 h 10000"/>
              <a:gd name="connsiteX27" fmla="*/ 5252 w 10000"/>
              <a:gd name="connsiteY27" fmla="*/ 6244 h 10000"/>
              <a:gd name="connsiteX28" fmla="*/ 5261 w 10000"/>
              <a:gd name="connsiteY28" fmla="*/ 6146 h 10000"/>
              <a:gd name="connsiteX29" fmla="*/ 5261 w 10000"/>
              <a:gd name="connsiteY29" fmla="*/ 6146 h 10000"/>
              <a:gd name="connsiteX30" fmla="*/ 5266 w 10000"/>
              <a:gd name="connsiteY30" fmla="*/ 6040 h 10000"/>
              <a:gd name="connsiteX31" fmla="*/ 5257 w 10000"/>
              <a:gd name="connsiteY31" fmla="*/ 5933 h 10000"/>
              <a:gd name="connsiteX32" fmla="*/ 5243 w 10000"/>
              <a:gd name="connsiteY32" fmla="*/ 5831 h 10000"/>
              <a:gd name="connsiteX33" fmla="*/ 5221 w 10000"/>
              <a:gd name="connsiteY33" fmla="*/ 5730 h 10000"/>
              <a:gd name="connsiteX34" fmla="*/ 5189 w 10000"/>
              <a:gd name="connsiteY34" fmla="*/ 5632 h 10000"/>
              <a:gd name="connsiteX35" fmla="*/ 5149 w 10000"/>
              <a:gd name="connsiteY35" fmla="*/ 5535 h 10000"/>
              <a:gd name="connsiteX36" fmla="*/ 5099 w 10000"/>
              <a:gd name="connsiteY36" fmla="*/ 5442 h 10000"/>
              <a:gd name="connsiteX37" fmla="*/ 5045 w 10000"/>
              <a:gd name="connsiteY37" fmla="*/ 5350 h 10000"/>
              <a:gd name="connsiteX38" fmla="*/ 5045 w 10000"/>
              <a:gd name="connsiteY38" fmla="*/ 5350 h 10000"/>
              <a:gd name="connsiteX39" fmla="*/ 4986 w 10000"/>
              <a:gd name="connsiteY39" fmla="*/ 5266 h 10000"/>
              <a:gd name="connsiteX40" fmla="*/ 4923 w 10000"/>
              <a:gd name="connsiteY40" fmla="*/ 5183 h 10000"/>
              <a:gd name="connsiteX41" fmla="*/ 4856 w 10000"/>
              <a:gd name="connsiteY41" fmla="*/ 5109 h 10000"/>
              <a:gd name="connsiteX42" fmla="*/ 4784 w 10000"/>
              <a:gd name="connsiteY42" fmla="*/ 5035 h 10000"/>
              <a:gd name="connsiteX43" fmla="*/ 4707 w 10000"/>
              <a:gd name="connsiteY43" fmla="*/ 4965 h 10000"/>
              <a:gd name="connsiteX44" fmla="*/ 4631 w 10000"/>
              <a:gd name="connsiteY44" fmla="*/ 4900 h 10000"/>
              <a:gd name="connsiteX45" fmla="*/ 4550 w 10000"/>
              <a:gd name="connsiteY45" fmla="*/ 4836 h 10000"/>
              <a:gd name="connsiteX46" fmla="*/ 4469 w 10000"/>
              <a:gd name="connsiteY46" fmla="*/ 4775 h 10000"/>
              <a:gd name="connsiteX47" fmla="*/ 4469 w 10000"/>
              <a:gd name="connsiteY47" fmla="*/ 4775 h 10000"/>
              <a:gd name="connsiteX48" fmla="*/ 4347 w 10000"/>
              <a:gd name="connsiteY48" fmla="*/ 4687 h 10000"/>
              <a:gd name="connsiteX49" fmla="*/ 4226 w 10000"/>
              <a:gd name="connsiteY49" fmla="*/ 4609 h 10000"/>
              <a:gd name="connsiteX50" fmla="*/ 4104 w 10000"/>
              <a:gd name="connsiteY50" fmla="*/ 4530 h 10000"/>
              <a:gd name="connsiteX51" fmla="*/ 3978 w 10000"/>
              <a:gd name="connsiteY51" fmla="*/ 4456 h 10000"/>
              <a:gd name="connsiteX52" fmla="*/ 3852 w 10000"/>
              <a:gd name="connsiteY52" fmla="*/ 4386 h 10000"/>
              <a:gd name="connsiteX53" fmla="*/ 3722 w 10000"/>
              <a:gd name="connsiteY53" fmla="*/ 4317 h 10000"/>
              <a:gd name="connsiteX54" fmla="*/ 3591 w 10000"/>
              <a:gd name="connsiteY54" fmla="*/ 4252 h 10000"/>
              <a:gd name="connsiteX55" fmla="*/ 3461 w 10000"/>
              <a:gd name="connsiteY55" fmla="*/ 4187 h 10000"/>
              <a:gd name="connsiteX56" fmla="*/ 3461 w 10000"/>
              <a:gd name="connsiteY56" fmla="*/ 4187 h 10000"/>
              <a:gd name="connsiteX57" fmla="*/ 3029 w 10000"/>
              <a:gd name="connsiteY57" fmla="*/ 3993 h 10000"/>
              <a:gd name="connsiteX58" fmla="*/ 2601 w 10000"/>
              <a:gd name="connsiteY58" fmla="*/ 3798 h 10000"/>
              <a:gd name="connsiteX59" fmla="*/ 1742 w 10000"/>
              <a:gd name="connsiteY59" fmla="*/ 3414 h 10000"/>
              <a:gd name="connsiteX60" fmla="*/ 1742 w 10000"/>
              <a:gd name="connsiteY60" fmla="*/ 3414 h 10000"/>
              <a:gd name="connsiteX61" fmla="*/ 1598 w 10000"/>
              <a:gd name="connsiteY61" fmla="*/ 3349 h 10000"/>
              <a:gd name="connsiteX62" fmla="*/ 1454 w 10000"/>
              <a:gd name="connsiteY62" fmla="*/ 3279 h 10000"/>
              <a:gd name="connsiteX63" fmla="*/ 1314 w 10000"/>
              <a:gd name="connsiteY63" fmla="*/ 3205 h 10000"/>
              <a:gd name="connsiteX64" fmla="*/ 1179 w 10000"/>
              <a:gd name="connsiteY64" fmla="*/ 3126 h 10000"/>
              <a:gd name="connsiteX65" fmla="*/ 1049 w 10000"/>
              <a:gd name="connsiteY65" fmla="*/ 3038 h 10000"/>
              <a:gd name="connsiteX66" fmla="*/ 923 w 10000"/>
              <a:gd name="connsiteY66" fmla="*/ 2946 h 10000"/>
              <a:gd name="connsiteX67" fmla="*/ 797 w 10000"/>
              <a:gd name="connsiteY67" fmla="*/ 2849 h 10000"/>
              <a:gd name="connsiteX68" fmla="*/ 680 w 10000"/>
              <a:gd name="connsiteY68" fmla="*/ 2742 h 10000"/>
              <a:gd name="connsiteX69" fmla="*/ 680 w 10000"/>
              <a:gd name="connsiteY69" fmla="*/ 2742 h 10000"/>
              <a:gd name="connsiteX70" fmla="*/ 590 w 10000"/>
              <a:gd name="connsiteY70" fmla="*/ 2649 h 10000"/>
              <a:gd name="connsiteX71" fmla="*/ 504 w 10000"/>
              <a:gd name="connsiteY71" fmla="*/ 2557 h 10000"/>
              <a:gd name="connsiteX72" fmla="*/ 423 w 10000"/>
              <a:gd name="connsiteY72" fmla="*/ 2459 h 10000"/>
              <a:gd name="connsiteX73" fmla="*/ 356 w 10000"/>
              <a:gd name="connsiteY73" fmla="*/ 2362 h 10000"/>
              <a:gd name="connsiteX74" fmla="*/ 288 w 10000"/>
              <a:gd name="connsiteY74" fmla="*/ 2260 h 10000"/>
              <a:gd name="connsiteX75" fmla="*/ 230 w 10000"/>
              <a:gd name="connsiteY75" fmla="*/ 2154 h 10000"/>
              <a:gd name="connsiteX76" fmla="*/ 180 w 10000"/>
              <a:gd name="connsiteY76" fmla="*/ 2047 h 10000"/>
              <a:gd name="connsiteX77" fmla="*/ 131 w 10000"/>
              <a:gd name="connsiteY77" fmla="*/ 1941 h 10000"/>
              <a:gd name="connsiteX78" fmla="*/ 95 w 10000"/>
              <a:gd name="connsiteY78" fmla="*/ 1830 h 10000"/>
              <a:gd name="connsiteX79" fmla="*/ 63 w 10000"/>
              <a:gd name="connsiteY79" fmla="*/ 1714 h 10000"/>
              <a:gd name="connsiteX80" fmla="*/ 36 w 10000"/>
              <a:gd name="connsiteY80" fmla="*/ 1593 h 10000"/>
              <a:gd name="connsiteX81" fmla="*/ 18 w 10000"/>
              <a:gd name="connsiteY81" fmla="*/ 1473 h 10000"/>
              <a:gd name="connsiteX82" fmla="*/ 5 w 10000"/>
              <a:gd name="connsiteY82" fmla="*/ 1352 h 10000"/>
              <a:gd name="connsiteX83" fmla="*/ 0 w 10000"/>
              <a:gd name="connsiteY83" fmla="*/ 1227 h 10000"/>
              <a:gd name="connsiteX84" fmla="*/ 0 w 10000"/>
              <a:gd name="connsiteY84" fmla="*/ 1098 h 10000"/>
              <a:gd name="connsiteX85" fmla="*/ 9 w 10000"/>
              <a:gd name="connsiteY85" fmla="*/ 968 h 10000"/>
              <a:gd name="connsiteX86" fmla="*/ 9 w 10000"/>
              <a:gd name="connsiteY86" fmla="*/ 968 h 10000"/>
              <a:gd name="connsiteX87" fmla="*/ 23 w 10000"/>
              <a:gd name="connsiteY87" fmla="*/ 848 h 10000"/>
              <a:gd name="connsiteX88" fmla="*/ 41 w 10000"/>
              <a:gd name="connsiteY88" fmla="*/ 727 h 10000"/>
              <a:gd name="connsiteX89" fmla="*/ 68 w 10000"/>
              <a:gd name="connsiteY89" fmla="*/ 607 h 10000"/>
              <a:gd name="connsiteX90" fmla="*/ 95 w 10000"/>
              <a:gd name="connsiteY90" fmla="*/ 491 h 10000"/>
              <a:gd name="connsiteX91" fmla="*/ 131 w 10000"/>
              <a:gd name="connsiteY91" fmla="*/ 375 h 10000"/>
              <a:gd name="connsiteX92" fmla="*/ 171 w 10000"/>
              <a:gd name="connsiteY92" fmla="*/ 259 h 10000"/>
              <a:gd name="connsiteX93" fmla="*/ 212 w 10000"/>
              <a:gd name="connsiteY93" fmla="*/ 148 h 10000"/>
              <a:gd name="connsiteX94" fmla="*/ 266 w 10000"/>
              <a:gd name="connsiteY94" fmla="*/ 37 h 10000"/>
              <a:gd name="connsiteX95" fmla="*/ 266 w 10000"/>
              <a:gd name="connsiteY95" fmla="*/ 37 h 10000"/>
              <a:gd name="connsiteX96" fmla="*/ 275 w 10000"/>
              <a:gd name="connsiteY96" fmla="*/ 0 h 10000"/>
              <a:gd name="connsiteX97" fmla="*/ 275 w 10000"/>
              <a:gd name="connsiteY97" fmla="*/ 0 h 10000"/>
              <a:gd name="connsiteX0" fmla="*/ 275 w 10000"/>
              <a:gd name="connsiteY0" fmla="*/ 0 h 10000"/>
              <a:gd name="connsiteX1" fmla="*/ 275 w 10000"/>
              <a:gd name="connsiteY1" fmla="*/ 0 h 10000"/>
              <a:gd name="connsiteX2" fmla="*/ 6380 w 10000"/>
              <a:gd name="connsiteY2" fmla="*/ 0 h 10000"/>
              <a:gd name="connsiteX3" fmla="*/ 10000 w 10000"/>
              <a:gd name="connsiteY3" fmla="*/ 9893 h 10000"/>
              <a:gd name="connsiteX4" fmla="*/ 9734 w 10000"/>
              <a:gd name="connsiteY4" fmla="*/ 10000 h 10000"/>
              <a:gd name="connsiteX5" fmla="*/ 7052 w 10000"/>
              <a:gd name="connsiteY5" fmla="*/ 8902 h 10000"/>
              <a:gd name="connsiteX6" fmla="*/ 6805 w 10000"/>
              <a:gd name="connsiteY6" fmla="*/ 8736 h 10000"/>
              <a:gd name="connsiteX7" fmla="*/ 6562 w 10000"/>
              <a:gd name="connsiteY7" fmla="*/ 8564 h 10000"/>
              <a:gd name="connsiteX8" fmla="*/ 6319 w 10000"/>
              <a:gd name="connsiteY8" fmla="*/ 8388 h 10000"/>
              <a:gd name="connsiteX9" fmla="*/ 6085 w 10000"/>
              <a:gd name="connsiteY9" fmla="*/ 8208 h 10000"/>
              <a:gd name="connsiteX10" fmla="*/ 5851 w 10000"/>
              <a:gd name="connsiteY10" fmla="*/ 8022 h 10000"/>
              <a:gd name="connsiteX11" fmla="*/ 5621 w 10000"/>
              <a:gd name="connsiteY11" fmla="*/ 7832 h 10000"/>
              <a:gd name="connsiteX12" fmla="*/ 5392 w 10000"/>
              <a:gd name="connsiteY12" fmla="*/ 7642 h 10000"/>
              <a:gd name="connsiteX13" fmla="*/ 5167 w 10000"/>
              <a:gd name="connsiteY13" fmla="*/ 7443 h 10000"/>
              <a:gd name="connsiteX14" fmla="*/ 5167 w 10000"/>
              <a:gd name="connsiteY14" fmla="*/ 7443 h 10000"/>
              <a:gd name="connsiteX15" fmla="*/ 4905 w 10000"/>
              <a:gd name="connsiteY15" fmla="*/ 7216 h 10000"/>
              <a:gd name="connsiteX16" fmla="*/ 4905 w 10000"/>
              <a:gd name="connsiteY16" fmla="*/ 7216 h 10000"/>
              <a:gd name="connsiteX17" fmla="*/ 4995 w 10000"/>
              <a:gd name="connsiteY17" fmla="*/ 7040 h 10000"/>
              <a:gd name="connsiteX18" fmla="*/ 5077 w 10000"/>
              <a:gd name="connsiteY18" fmla="*/ 6864 h 10000"/>
              <a:gd name="connsiteX19" fmla="*/ 5077 w 10000"/>
              <a:gd name="connsiteY19" fmla="*/ 6864 h 10000"/>
              <a:gd name="connsiteX20" fmla="*/ 5113 w 10000"/>
              <a:gd name="connsiteY20" fmla="*/ 6781 h 10000"/>
              <a:gd name="connsiteX21" fmla="*/ 5144 w 10000"/>
              <a:gd name="connsiteY21" fmla="*/ 6693 h 10000"/>
              <a:gd name="connsiteX22" fmla="*/ 5176 w 10000"/>
              <a:gd name="connsiteY22" fmla="*/ 6605 h 10000"/>
              <a:gd name="connsiteX23" fmla="*/ 5203 w 10000"/>
              <a:gd name="connsiteY23" fmla="*/ 6517 h 10000"/>
              <a:gd name="connsiteX24" fmla="*/ 5225 w 10000"/>
              <a:gd name="connsiteY24" fmla="*/ 6424 h 10000"/>
              <a:gd name="connsiteX25" fmla="*/ 5243 w 10000"/>
              <a:gd name="connsiteY25" fmla="*/ 6336 h 10000"/>
              <a:gd name="connsiteX26" fmla="*/ 5252 w 10000"/>
              <a:gd name="connsiteY26" fmla="*/ 6244 h 10000"/>
              <a:gd name="connsiteX27" fmla="*/ 5261 w 10000"/>
              <a:gd name="connsiteY27" fmla="*/ 6146 h 10000"/>
              <a:gd name="connsiteX28" fmla="*/ 5261 w 10000"/>
              <a:gd name="connsiteY28" fmla="*/ 6146 h 10000"/>
              <a:gd name="connsiteX29" fmla="*/ 5266 w 10000"/>
              <a:gd name="connsiteY29" fmla="*/ 6040 h 10000"/>
              <a:gd name="connsiteX30" fmla="*/ 5257 w 10000"/>
              <a:gd name="connsiteY30" fmla="*/ 5933 h 10000"/>
              <a:gd name="connsiteX31" fmla="*/ 5243 w 10000"/>
              <a:gd name="connsiteY31" fmla="*/ 5831 h 10000"/>
              <a:gd name="connsiteX32" fmla="*/ 5221 w 10000"/>
              <a:gd name="connsiteY32" fmla="*/ 5730 h 10000"/>
              <a:gd name="connsiteX33" fmla="*/ 5189 w 10000"/>
              <a:gd name="connsiteY33" fmla="*/ 5632 h 10000"/>
              <a:gd name="connsiteX34" fmla="*/ 5149 w 10000"/>
              <a:gd name="connsiteY34" fmla="*/ 5535 h 10000"/>
              <a:gd name="connsiteX35" fmla="*/ 5099 w 10000"/>
              <a:gd name="connsiteY35" fmla="*/ 5442 h 10000"/>
              <a:gd name="connsiteX36" fmla="*/ 5045 w 10000"/>
              <a:gd name="connsiteY36" fmla="*/ 5350 h 10000"/>
              <a:gd name="connsiteX37" fmla="*/ 5045 w 10000"/>
              <a:gd name="connsiteY37" fmla="*/ 5350 h 10000"/>
              <a:gd name="connsiteX38" fmla="*/ 4986 w 10000"/>
              <a:gd name="connsiteY38" fmla="*/ 5266 h 10000"/>
              <a:gd name="connsiteX39" fmla="*/ 4923 w 10000"/>
              <a:gd name="connsiteY39" fmla="*/ 5183 h 10000"/>
              <a:gd name="connsiteX40" fmla="*/ 4856 w 10000"/>
              <a:gd name="connsiteY40" fmla="*/ 5109 h 10000"/>
              <a:gd name="connsiteX41" fmla="*/ 4784 w 10000"/>
              <a:gd name="connsiteY41" fmla="*/ 5035 h 10000"/>
              <a:gd name="connsiteX42" fmla="*/ 4707 w 10000"/>
              <a:gd name="connsiteY42" fmla="*/ 4965 h 10000"/>
              <a:gd name="connsiteX43" fmla="*/ 4631 w 10000"/>
              <a:gd name="connsiteY43" fmla="*/ 4900 h 10000"/>
              <a:gd name="connsiteX44" fmla="*/ 4550 w 10000"/>
              <a:gd name="connsiteY44" fmla="*/ 4836 h 10000"/>
              <a:gd name="connsiteX45" fmla="*/ 4469 w 10000"/>
              <a:gd name="connsiteY45" fmla="*/ 4775 h 10000"/>
              <a:gd name="connsiteX46" fmla="*/ 4469 w 10000"/>
              <a:gd name="connsiteY46" fmla="*/ 4775 h 10000"/>
              <a:gd name="connsiteX47" fmla="*/ 4347 w 10000"/>
              <a:gd name="connsiteY47" fmla="*/ 4687 h 10000"/>
              <a:gd name="connsiteX48" fmla="*/ 4226 w 10000"/>
              <a:gd name="connsiteY48" fmla="*/ 4609 h 10000"/>
              <a:gd name="connsiteX49" fmla="*/ 4104 w 10000"/>
              <a:gd name="connsiteY49" fmla="*/ 4530 h 10000"/>
              <a:gd name="connsiteX50" fmla="*/ 3978 w 10000"/>
              <a:gd name="connsiteY50" fmla="*/ 4456 h 10000"/>
              <a:gd name="connsiteX51" fmla="*/ 3852 w 10000"/>
              <a:gd name="connsiteY51" fmla="*/ 4386 h 10000"/>
              <a:gd name="connsiteX52" fmla="*/ 3722 w 10000"/>
              <a:gd name="connsiteY52" fmla="*/ 4317 h 10000"/>
              <a:gd name="connsiteX53" fmla="*/ 3591 w 10000"/>
              <a:gd name="connsiteY53" fmla="*/ 4252 h 10000"/>
              <a:gd name="connsiteX54" fmla="*/ 3461 w 10000"/>
              <a:gd name="connsiteY54" fmla="*/ 4187 h 10000"/>
              <a:gd name="connsiteX55" fmla="*/ 3461 w 10000"/>
              <a:gd name="connsiteY55" fmla="*/ 4187 h 10000"/>
              <a:gd name="connsiteX56" fmla="*/ 3029 w 10000"/>
              <a:gd name="connsiteY56" fmla="*/ 3993 h 10000"/>
              <a:gd name="connsiteX57" fmla="*/ 2601 w 10000"/>
              <a:gd name="connsiteY57" fmla="*/ 3798 h 10000"/>
              <a:gd name="connsiteX58" fmla="*/ 1742 w 10000"/>
              <a:gd name="connsiteY58" fmla="*/ 3414 h 10000"/>
              <a:gd name="connsiteX59" fmla="*/ 1742 w 10000"/>
              <a:gd name="connsiteY59" fmla="*/ 3414 h 10000"/>
              <a:gd name="connsiteX60" fmla="*/ 1598 w 10000"/>
              <a:gd name="connsiteY60" fmla="*/ 3349 h 10000"/>
              <a:gd name="connsiteX61" fmla="*/ 1454 w 10000"/>
              <a:gd name="connsiteY61" fmla="*/ 3279 h 10000"/>
              <a:gd name="connsiteX62" fmla="*/ 1314 w 10000"/>
              <a:gd name="connsiteY62" fmla="*/ 3205 h 10000"/>
              <a:gd name="connsiteX63" fmla="*/ 1179 w 10000"/>
              <a:gd name="connsiteY63" fmla="*/ 3126 h 10000"/>
              <a:gd name="connsiteX64" fmla="*/ 1049 w 10000"/>
              <a:gd name="connsiteY64" fmla="*/ 3038 h 10000"/>
              <a:gd name="connsiteX65" fmla="*/ 923 w 10000"/>
              <a:gd name="connsiteY65" fmla="*/ 2946 h 10000"/>
              <a:gd name="connsiteX66" fmla="*/ 797 w 10000"/>
              <a:gd name="connsiteY66" fmla="*/ 2849 h 10000"/>
              <a:gd name="connsiteX67" fmla="*/ 680 w 10000"/>
              <a:gd name="connsiteY67" fmla="*/ 2742 h 10000"/>
              <a:gd name="connsiteX68" fmla="*/ 680 w 10000"/>
              <a:gd name="connsiteY68" fmla="*/ 2742 h 10000"/>
              <a:gd name="connsiteX69" fmla="*/ 590 w 10000"/>
              <a:gd name="connsiteY69" fmla="*/ 2649 h 10000"/>
              <a:gd name="connsiteX70" fmla="*/ 504 w 10000"/>
              <a:gd name="connsiteY70" fmla="*/ 2557 h 10000"/>
              <a:gd name="connsiteX71" fmla="*/ 423 w 10000"/>
              <a:gd name="connsiteY71" fmla="*/ 2459 h 10000"/>
              <a:gd name="connsiteX72" fmla="*/ 356 w 10000"/>
              <a:gd name="connsiteY72" fmla="*/ 2362 h 10000"/>
              <a:gd name="connsiteX73" fmla="*/ 288 w 10000"/>
              <a:gd name="connsiteY73" fmla="*/ 2260 h 10000"/>
              <a:gd name="connsiteX74" fmla="*/ 230 w 10000"/>
              <a:gd name="connsiteY74" fmla="*/ 2154 h 10000"/>
              <a:gd name="connsiteX75" fmla="*/ 180 w 10000"/>
              <a:gd name="connsiteY75" fmla="*/ 2047 h 10000"/>
              <a:gd name="connsiteX76" fmla="*/ 131 w 10000"/>
              <a:gd name="connsiteY76" fmla="*/ 1941 h 10000"/>
              <a:gd name="connsiteX77" fmla="*/ 95 w 10000"/>
              <a:gd name="connsiteY77" fmla="*/ 1830 h 10000"/>
              <a:gd name="connsiteX78" fmla="*/ 63 w 10000"/>
              <a:gd name="connsiteY78" fmla="*/ 1714 h 10000"/>
              <a:gd name="connsiteX79" fmla="*/ 36 w 10000"/>
              <a:gd name="connsiteY79" fmla="*/ 1593 h 10000"/>
              <a:gd name="connsiteX80" fmla="*/ 18 w 10000"/>
              <a:gd name="connsiteY80" fmla="*/ 1473 h 10000"/>
              <a:gd name="connsiteX81" fmla="*/ 5 w 10000"/>
              <a:gd name="connsiteY81" fmla="*/ 1352 h 10000"/>
              <a:gd name="connsiteX82" fmla="*/ 0 w 10000"/>
              <a:gd name="connsiteY82" fmla="*/ 1227 h 10000"/>
              <a:gd name="connsiteX83" fmla="*/ 0 w 10000"/>
              <a:gd name="connsiteY83" fmla="*/ 1098 h 10000"/>
              <a:gd name="connsiteX84" fmla="*/ 9 w 10000"/>
              <a:gd name="connsiteY84" fmla="*/ 968 h 10000"/>
              <a:gd name="connsiteX85" fmla="*/ 9 w 10000"/>
              <a:gd name="connsiteY85" fmla="*/ 968 h 10000"/>
              <a:gd name="connsiteX86" fmla="*/ 23 w 10000"/>
              <a:gd name="connsiteY86" fmla="*/ 848 h 10000"/>
              <a:gd name="connsiteX87" fmla="*/ 41 w 10000"/>
              <a:gd name="connsiteY87" fmla="*/ 727 h 10000"/>
              <a:gd name="connsiteX88" fmla="*/ 68 w 10000"/>
              <a:gd name="connsiteY88" fmla="*/ 607 h 10000"/>
              <a:gd name="connsiteX89" fmla="*/ 95 w 10000"/>
              <a:gd name="connsiteY89" fmla="*/ 491 h 10000"/>
              <a:gd name="connsiteX90" fmla="*/ 131 w 10000"/>
              <a:gd name="connsiteY90" fmla="*/ 375 h 10000"/>
              <a:gd name="connsiteX91" fmla="*/ 171 w 10000"/>
              <a:gd name="connsiteY91" fmla="*/ 259 h 10000"/>
              <a:gd name="connsiteX92" fmla="*/ 212 w 10000"/>
              <a:gd name="connsiteY92" fmla="*/ 148 h 10000"/>
              <a:gd name="connsiteX93" fmla="*/ 266 w 10000"/>
              <a:gd name="connsiteY93" fmla="*/ 37 h 10000"/>
              <a:gd name="connsiteX94" fmla="*/ 266 w 10000"/>
              <a:gd name="connsiteY94" fmla="*/ 37 h 10000"/>
              <a:gd name="connsiteX95" fmla="*/ 275 w 10000"/>
              <a:gd name="connsiteY95" fmla="*/ 0 h 10000"/>
              <a:gd name="connsiteX96" fmla="*/ 275 w 10000"/>
              <a:gd name="connsiteY96" fmla="*/ 0 h 10000"/>
              <a:gd name="connsiteX0" fmla="*/ 275 w 9734"/>
              <a:gd name="connsiteY0" fmla="*/ 0 h 10000"/>
              <a:gd name="connsiteX1" fmla="*/ 275 w 9734"/>
              <a:gd name="connsiteY1" fmla="*/ 0 h 10000"/>
              <a:gd name="connsiteX2" fmla="*/ 6380 w 9734"/>
              <a:gd name="connsiteY2" fmla="*/ 0 h 10000"/>
              <a:gd name="connsiteX3" fmla="*/ 9734 w 9734"/>
              <a:gd name="connsiteY3" fmla="*/ 10000 h 10000"/>
              <a:gd name="connsiteX4" fmla="*/ 7052 w 9734"/>
              <a:gd name="connsiteY4" fmla="*/ 8902 h 10000"/>
              <a:gd name="connsiteX5" fmla="*/ 6805 w 9734"/>
              <a:gd name="connsiteY5" fmla="*/ 8736 h 10000"/>
              <a:gd name="connsiteX6" fmla="*/ 6562 w 9734"/>
              <a:gd name="connsiteY6" fmla="*/ 8564 h 10000"/>
              <a:gd name="connsiteX7" fmla="*/ 6319 w 9734"/>
              <a:gd name="connsiteY7" fmla="*/ 8388 h 10000"/>
              <a:gd name="connsiteX8" fmla="*/ 6085 w 9734"/>
              <a:gd name="connsiteY8" fmla="*/ 8208 h 10000"/>
              <a:gd name="connsiteX9" fmla="*/ 5851 w 9734"/>
              <a:gd name="connsiteY9" fmla="*/ 8022 h 10000"/>
              <a:gd name="connsiteX10" fmla="*/ 5621 w 9734"/>
              <a:gd name="connsiteY10" fmla="*/ 7832 h 10000"/>
              <a:gd name="connsiteX11" fmla="*/ 5392 w 9734"/>
              <a:gd name="connsiteY11" fmla="*/ 7642 h 10000"/>
              <a:gd name="connsiteX12" fmla="*/ 5167 w 9734"/>
              <a:gd name="connsiteY12" fmla="*/ 7443 h 10000"/>
              <a:gd name="connsiteX13" fmla="*/ 5167 w 9734"/>
              <a:gd name="connsiteY13" fmla="*/ 7443 h 10000"/>
              <a:gd name="connsiteX14" fmla="*/ 4905 w 9734"/>
              <a:gd name="connsiteY14" fmla="*/ 7216 h 10000"/>
              <a:gd name="connsiteX15" fmla="*/ 4905 w 9734"/>
              <a:gd name="connsiteY15" fmla="*/ 7216 h 10000"/>
              <a:gd name="connsiteX16" fmla="*/ 4995 w 9734"/>
              <a:gd name="connsiteY16" fmla="*/ 7040 h 10000"/>
              <a:gd name="connsiteX17" fmla="*/ 5077 w 9734"/>
              <a:gd name="connsiteY17" fmla="*/ 6864 h 10000"/>
              <a:gd name="connsiteX18" fmla="*/ 5077 w 9734"/>
              <a:gd name="connsiteY18" fmla="*/ 6864 h 10000"/>
              <a:gd name="connsiteX19" fmla="*/ 5113 w 9734"/>
              <a:gd name="connsiteY19" fmla="*/ 6781 h 10000"/>
              <a:gd name="connsiteX20" fmla="*/ 5144 w 9734"/>
              <a:gd name="connsiteY20" fmla="*/ 6693 h 10000"/>
              <a:gd name="connsiteX21" fmla="*/ 5176 w 9734"/>
              <a:gd name="connsiteY21" fmla="*/ 6605 h 10000"/>
              <a:gd name="connsiteX22" fmla="*/ 5203 w 9734"/>
              <a:gd name="connsiteY22" fmla="*/ 6517 h 10000"/>
              <a:gd name="connsiteX23" fmla="*/ 5225 w 9734"/>
              <a:gd name="connsiteY23" fmla="*/ 6424 h 10000"/>
              <a:gd name="connsiteX24" fmla="*/ 5243 w 9734"/>
              <a:gd name="connsiteY24" fmla="*/ 6336 h 10000"/>
              <a:gd name="connsiteX25" fmla="*/ 5252 w 9734"/>
              <a:gd name="connsiteY25" fmla="*/ 6244 h 10000"/>
              <a:gd name="connsiteX26" fmla="*/ 5261 w 9734"/>
              <a:gd name="connsiteY26" fmla="*/ 6146 h 10000"/>
              <a:gd name="connsiteX27" fmla="*/ 5261 w 9734"/>
              <a:gd name="connsiteY27" fmla="*/ 6146 h 10000"/>
              <a:gd name="connsiteX28" fmla="*/ 5266 w 9734"/>
              <a:gd name="connsiteY28" fmla="*/ 6040 h 10000"/>
              <a:gd name="connsiteX29" fmla="*/ 5257 w 9734"/>
              <a:gd name="connsiteY29" fmla="*/ 5933 h 10000"/>
              <a:gd name="connsiteX30" fmla="*/ 5243 w 9734"/>
              <a:gd name="connsiteY30" fmla="*/ 5831 h 10000"/>
              <a:gd name="connsiteX31" fmla="*/ 5221 w 9734"/>
              <a:gd name="connsiteY31" fmla="*/ 5730 h 10000"/>
              <a:gd name="connsiteX32" fmla="*/ 5189 w 9734"/>
              <a:gd name="connsiteY32" fmla="*/ 5632 h 10000"/>
              <a:gd name="connsiteX33" fmla="*/ 5149 w 9734"/>
              <a:gd name="connsiteY33" fmla="*/ 5535 h 10000"/>
              <a:gd name="connsiteX34" fmla="*/ 5099 w 9734"/>
              <a:gd name="connsiteY34" fmla="*/ 5442 h 10000"/>
              <a:gd name="connsiteX35" fmla="*/ 5045 w 9734"/>
              <a:gd name="connsiteY35" fmla="*/ 5350 h 10000"/>
              <a:gd name="connsiteX36" fmla="*/ 5045 w 9734"/>
              <a:gd name="connsiteY36" fmla="*/ 5350 h 10000"/>
              <a:gd name="connsiteX37" fmla="*/ 4986 w 9734"/>
              <a:gd name="connsiteY37" fmla="*/ 5266 h 10000"/>
              <a:gd name="connsiteX38" fmla="*/ 4923 w 9734"/>
              <a:gd name="connsiteY38" fmla="*/ 5183 h 10000"/>
              <a:gd name="connsiteX39" fmla="*/ 4856 w 9734"/>
              <a:gd name="connsiteY39" fmla="*/ 5109 h 10000"/>
              <a:gd name="connsiteX40" fmla="*/ 4784 w 9734"/>
              <a:gd name="connsiteY40" fmla="*/ 5035 h 10000"/>
              <a:gd name="connsiteX41" fmla="*/ 4707 w 9734"/>
              <a:gd name="connsiteY41" fmla="*/ 4965 h 10000"/>
              <a:gd name="connsiteX42" fmla="*/ 4631 w 9734"/>
              <a:gd name="connsiteY42" fmla="*/ 4900 h 10000"/>
              <a:gd name="connsiteX43" fmla="*/ 4550 w 9734"/>
              <a:gd name="connsiteY43" fmla="*/ 4836 h 10000"/>
              <a:gd name="connsiteX44" fmla="*/ 4469 w 9734"/>
              <a:gd name="connsiteY44" fmla="*/ 4775 h 10000"/>
              <a:gd name="connsiteX45" fmla="*/ 4469 w 9734"/>
              <a:gd name="connsiteY45" fmla="*/ 4775 h 10000"/>
              <a:gd name="connsiteX46" fmla="*/ 4347 w 9734"/>
              <a:gd name="connsiteY46" fmla="*/ 4687 h 10000"/>
              <a:gd name="connsiteX47" fmla="*/ 4226 w 9734"/>
              <a:gd name="connsiteY47" fmla="*/ 4609 h 10000"/>
              <a:gd name="connsiteX48" fmla="*/ 4104 w 9734"/>
              <a:gd name="connsiteY48" fmla="*/ 4530 h 10000"/>
              <a:gd name="connsiteX49" fmla="*/ 3978 w 9734"/>
              <a:gd name="connsiteY49" fmla="*/ 4456 h 10000"/>
              <a:gd name="connsiteX50" fmla="*/ 3852 w 9734"/>
              <a:gd name="connsiteY50" fmla="*/ 4386 h 10000"/>
              <a:gd name="connsiteX51" fmla="*/ 3722 w 9734"/>
              <a:gd name="connsiteY51" fmla="*/ 4317 h 10000"/>
              <a:gd name="connsiteX52" fmla="*/ 3591 w 9734"/>
              <a:gd name="connsiteY52" fmla="*/ 4252 h 10000"/>
              <a:gd name="connsiteX53" fmla="*/ 3461 w 9734"/>
              <a:gd name="connsiteY53" fmla="*/ 4187 h 10000"/>
              <a:gd name="connsiteX54" fmla="*/ 3461 w 9734"/>
              <a:gd name="connsiteY54" fmla="*/ 4187 h 10000"/>
              <a:gd name="connsiteX55" fmla="*/ 3029 w 9734"/>
              <a:gd name="connsiteY55" fmla="*/ 3993 h 10000"/>
              <a:gd name="connsiteX56" fmla="*/ 2601 w 9734"/>
              <a:gd name="connsiteY56" fmla="*/ 3798 h 10000"/>
              <a:gd name="connsiteX57" fmla="*/ 1742 w 9734"/>
              <a:gd name="connsiteY57" fmla="*/ 3414 h 10000"/>
              <a:gd name="connsiteX58" fmla="*/ 1742 w 9734"/>
              <a:gd name="connsiteY58" fmla="*/ 3414 h 10000"/>
              <a:gd name="connsiteX59" fmla="*/ 1598 w 9734"/>
              <a:gd name="connsiteY59" fmla="*/ 3349 h 10000"/>
              <a:gd name="connsiteX60" fmla="*/ 1454 w 9734"/>
              <a:gd name="connsiteY60" fmla="*/ 3279 h 10000"/>
              <a:gd name="connsiteX61" fmla="*/ 1314 w 9734"/>
              <a:gd name="connsiteY61" fmla="*/ 3205 h 10000"/>
              <a:gd name="connsiteX62" fmla="*/ 1179 w 9734"/>
              <a:gd name="connsiteY62" fmla="*/ 3126 h 10000"/>
              <a:gd name="connsiteX63" fmla="*/ 1049 w 9734"/>
              <a:gd name="connsiteY63" fmla="*/ 3038 h 10000"/>
              <a:gd name="connsiteX64" fmla="*/ 923 w 9734"/>
              <a:gd name="connsiteY64" fmla="*/ 2946 h 10000"/>
              <a:gd name="connsiteX65" fmla="*/ 797 w 9734"/>
              <a:gd name="connsiteY65" fmla="*/ 2849 h 10000"/>
              <a:gd name="connsiteX66" fmla="*/ 680 w 9734"/>
              <a:gd name="connsiteY66" fmla="*/ 2742 h 10000"/>
              <a:gd name="connsiteX67" fmla="*/ 680 w 9734"/>
              <a:gd name="connsiteY67" fmla="*/ 2742 h 10000"/>
              <a:gd name="connsiteX68" fmla="*/ 590 w 9734"/>
              <a:gd name="connsiteY68" fmla="*/ 2649 h 10000"/>
              <a:gd name="connsiteX69" fmla="*/ 504 w 9734"/>
              <a:gd name="connsiteY69" fmla="*/ 2557 h 10000"/>
              <a:gd name="connsiteX70" fmla="*/ 423 w 9734"/>
              <a:gd name="connsiteY70" fmla="*/ 2459 h 10000"/>
              <a:gd name="connsiteX71" fmla="*/ 356 w 9734"/>
              <a:gd name="connsiteY71" fmla="*/ 2362 h 10000"/>
              <a:gd name="connsiteX72" fmla="*/ 288 w 9734"/>
              <a:gd name="connsiteY72" fmla="*/ 2260 h 10000"/>
              <a:gd name="connsiteX73" fmla="*/ 230 w 9734"/>
              <a:gd name="connsiteY73" fmla="*/ 2154 h 10000"/>
              <a:gd name="connsiteX74" fmla="*/ 180 w 9734"/>
              <a:gd name="connsiteY74" fmla="*/ 2047 h 10000"/>
              <a:gd name="connsiteX75" fmla="*/ 131 w 9734"/>
              <a:gd name="connsiteY75" fmla="*/ 1941 h 10000"/>
              <a:gd name="connsiteX76" fmla="*/ 95 w 9734"/>
              <a:gd name="connsiteY76" fmla="*/ 1830 h 10000"/>
              <a:gd name="connsiteX77" fmla="*/ 63 w 9734"/>
              <a:gd name="connsiteY77" fmla="*/ 1714 h 10000"/>
              <a:gd name="connsiteX78" fmla="*/ 36 w 9734"/>
              <a:gd name="connsiteY78" fmla="*/ 1593 h 10000"/>
              <a:gd name="connsiteX79" fmla="*/ 18 w 9734"/>
              <a:gd name="connsiteY79" fmla="*/ 1473 h 10000"/>
              <a:gd name="connsiteX80" fmla="*/ 5 w 9734"/>
              <a:gd name="connsiteY80" fmla="*/ 1352 h 10000"/>
              <a:gd name="connsiteX81" fmla="*/ 0 w 9734"/>
              <a:gd name="connsiteY81" fmla="*/ 1227 h 10000"/>
              <a:gd name="connsiteX82" fmla="*/ 0 w 9734"/>
              <a:gd name="connsiteY82" fmla="*/ 1098 h 10000"/>
              <a:gd name="connsiteX83" fmla="*/ 9 w 9734"/>
              <a:gd name="connsiteY83" fmla="*/ 968 h 10000"/>
              <a:gd name="connsiteX84" fmla="*/ 9 w 9734"/>
              <a:gd name="connsiteY84" fmla="*/ 968 h 10000"/>
              <a:gd name="connsiteX85" fmla="*/ 23 w 9734"/>
              <a:gd name="connsiteY85" fmla="*/ 848 h 10000"/>
              <a:gd name="connsiteX86" fmla="*/ 41 w 9734"/>
              <a:gd name="connsiteY86" fmla="*/ 727 h 10000"/>
              <a:gd name="connsiteX87" fmla="*/ 68 w 9734"/>
              <a:gd name="connsiteY87" fmla="*/ 607 h 10000"/>
              <a:gd name="connsiteX88" fmla="*/ 95 w 9734"/>
              <a:gd name="connsiteY88" fmla="*/ 491 h 10000"/>
              <a:gd name="connsiteX89" fmla="*/ 131 w 9734"/>
              <a:gd name="connsiteY89" fmla="*/ 375 h 10000"/>
              <a:gd name="connsiteX90" fmla="*/ 171 w 9734"/>
              <a:gd name="connsiteY90" fmla="*/ 259 h 10000"/>
              <a:gd name="connsiteX91" fmla="*/ 212 w 9734"/>
              <a:gd name="connsiteY91" fmla="*/ 148 h 10000"/>
              <a:gd name="connsiteX92" fmla="*/ 266 w 9734"/>
              <a:gd name="connsiteY92" fmla="*/ 37 h 10000"/>
              <a:gd name="connsiteX93" fmla="*/ 266 w 9734"/>
              <a:gd name="connsiteY93" fmla="*/ 37 h 10000"/>
              <a:gd name="connsiteX94" fmla="*/ 275 w 9734"/>
              <a:gd name="connsiteY94" fmla="*/ 0 h 10000"/>
              <a:gd name="connsiteX95" fmla="*/ 275 w 9734"/>
              <a:gd name="connsiteY95" fmla="*/ 0 h 10000"/>
              <a:gd name="connsiteX0" fmla="*/ 283 w 7245"/>
              <a:gd name="connsiteY0" fmla="*/ 0 h 8902"/>
              <a:gd name="connsiteX1" fmla="*/ 283 w 7245"/>
              <a:gd name="connsiteY1" fmla="*/ 0 h 8902"/>
              <a:gd name="connsiteX2" fmla="*/ 6554 w 7245"/>
              <a:gd name="connsiteY2" fmla="*/ 0 h 8902"/>
              <a:gd name="connsiteX3" fmla="*/ 7245 w 7245"/>
              <a:gd name="connsiteY3" fmla="*/ 8902 h 8902"/>
              <a:gd name="connsiteX4" fmla="*/ 6991 w 7245"/>
              <a:gd name="connsiteY4" fmla="*/ 8736 h 8902"/>
              <a:gd name="connsiteX5" fmla="*/ 6741 w 7245"/>
              <a:gd name="connsiteY5" fmla="*/ 8564 h 8902"/>
              <a:gd name="connsiteX6" fmla="*/ 6492 w 7245"/>
              <a:gd name="connsiteY6" fmla="*/ 8388 h 8902"/>
              <a:gd name="connsiteX7" fmla="*/ 6251 w 7245"/>
              <a:gd name="connsiteY7" fmla="*/ 8208 h 8902"/>
              <a:gd name="connsiteX8" fmla="*/ 6011 w 7245"/>
              <a:gd name="connsiteY8" fmla="*/ 8022 h 8902"/>
              <a:gd name="connsiteX9" fmla="*/ 5775 w 7245"/>
              <a:gd name="connsiteY9" fmla="*/ 7832 h 8902"/>
              <a:gd name="connsiteX10" fmla="*/ 5539 w 7245"/>
              <a:gd name="connsiteY10" fmla="*/ 7642 h 8902"/>
              <a:gd name="connsiteX11" fmla="*/ 5308 w 7245"/>
              <a:gd name="connsiteY11" fmla="*/ 7443 h 8902"/>
              <a:gd name="connsiteX12" fmla="*/ 5308 w 7245"/>
              <a:gd name="connsiteY12" fmla="*/ 7443 h 8902"/>
              <a:gd name="connsiteX13" fmla="*/ 5039 w 7245"/>
              <a:gd name="connsiteY13" fmla="*/ 7216 h 8902"/>
              <a:gd name="connsiteX14" fmla="*/ 5039 w 7245"/>
              <a:gd name="connsiteY14" fmla="*/ 7216 h 8902"/>
              <a:gd name="connsiteX15" fmla="*/ 5131 w 7245"/>
              <a:gd name="connsiteY15" fmla="*/ 7040 h 8902"/>
              <a:gd name="connsiteX16" fmla="*/ 5216 w 7245"/>
              <a:gd name="connsiteY16" fmla="*/ 6864 h 8902"/>
              <a:gd name="connsiteX17" fmla="*/ 5216 w 7245"/>
              <a:gd name="connsiteY17" fmla="*/ 6864 h 8902"/>
              <a:gd name="connsiteX18" fmla="*/ 5253 w 7245"/>
              <a:gd name="connsiteY18" fmla="*/ 6781 h 8902"/>
              <a:gd name="connsiteX19" fmla="*/ 5285 w 7245"/>
              <a:gd name="connsiteY19" fmla="*/ 6693 h 8902"/>
              <a:gd name="connsiteX20" fmla="*/ 5317 w 7245"/>
              <a:gd name="connsiteY20" fmla="*/ 6605 h 8902"/>
              <a:gd name="connsiteX21" fmla="*/ 5345 w 7245"/>
              <a:gd name="connsiteY21" fmla="*/ 6517 h 8902"/>
              <a:gd name="connsiteX22" fmla="*/ 5368 w 7245"/>
              <a:gd name="connsiteY22" fmla="*/ 6424 h 8902"/>
              <a:gd name="connsiteX23" fmla="*/ 5386 w 7245"/>
              <a:gd name="connsiteY23" fmla="*/ 6336 h 8902"/>
              <a:gd name="connsiteX24" fmla="*/ 5396 w 7245"/>
              <a:gd name="connsiteY24" fmla="*/ 6244 h 8902"/>
              <a:gd name="connsiteX25" fmla="*/ 5405 w 7245"/>
              <a:gd name="connsiteY25" fmla="*/ 6146 h 8902"/>
              <a:gd name="connsiteX26" fmla="*/ 5405 w 7245"/>
              <a:gd name="connsiteY26" fmla="*/ 6146 h 8902"/>
              <a:gd name="connsiteX27" fmla="*/ 5410 w 7245"/>
              <a:gd name="connsiteY27" fmla="*/ 6040 h 8902"/>
              <a:gd name="connsiteX28" fmla="*/ 5401 w 7245"/>
              <a:gd name="connsiteY28" fmla="*/ 5933 h 8902"/>
              <a:gd name="connsiteX29" fmla="*/ 5386 w 7245"/>
              <a:gd name="connsiteY29" fmla="*/ 5831 h 8902"/>
              <a:gd name="connsiteX30" fmla="*/ 5364 w 7245"/>
              <a:gd name="connsiteY30" fmla="*/ 5730 h 8902"/>
              <a:gd name="connsiteX31" fmla="*/ 5331 w 7245"/>
              <a:gd name="connsiteY31" fmla="*/ 5632 h 8902"/>
              <a:gd name="connsiteX32" fmla="*/ 5290 w 7245"/>
              <a:gd name="connsiteY32" fmla="*/ 5535 h 8902"/>
              <a:gd name="connsiteX33" fmla="*/ 5238 w 7245"/>
              <a:gd name="connsiteY33" fmla="*/ 5442 h 8902"/>
              <a:gd name="connsiteX34" fmla="*/ 5183 w 7245"/>
              <a:gd name="connsiteY34" fmla="*/ 5350 h 8902"/>
              <a:gd name="connsiteX35" fmla="*/ 5183 w 7245"/>
              <a:gd name="connsiteY35" fmla="*/ 5350 h 8902"/>
              <a:gd name="connsiteX36" fmla="*/ 5122 w 7245"/>
              <a:gd name="connsiteY36" fmla="*/ 5266 h 8902"/>
              <a:gd name="connsiteX37" fmla="*/ 5058 w 7245"/>
              <a:gd name="connsiteY37" fmla="*/ 5183 h 8902"/>
              <a:gd name="connsiteX38" fmla="*/ 4989 w 7245"/>
              <a:gd name="connsiteY38" fmla="*/ 5109 h 8902"/>
              <a:gd name="connsiteX39" fmla="*/ 4915 w 7245"/>
              <a:gd name="connsiteY39" fmla="*/ 5035 h 8902"/>
              <a:gd name="connsiteX40" fmla="*/ 4836 w 7245"/>
              <a:gd name="connsiteY40" fmla="*/ 4965 h 8902"/>
              <a:gd name="connsiteX41" fmla="*/ 4758 w 7245"/>
              <a:gd name="connsiteY41" fmla="*/ 4900 h 8902"/>
              <a:gd name="connsiteX42" fmla="*/ 4674 w 7245"/>
              <a:gd name="connsiteY42" fmla="*/ 4836 h 8902"/>
              <a:gd name="connsiteX43" fmla="*/ 4591 w 7245"/>
              <a:gd name="connsiteY43" fmla="*/ 4775 h 8902"/>
              <a:gd name="connsiteX44" fmla="*/ 4591 w 7245"/>
              <a:gd name="connsiteY44" fmla="*/ 4775 h 8902"/>
              <a:gd name="connsiteX45" fmla="*/ 4466 w 7245"/>
              <a:gd name="connsiteY45" fmla="*/ 4687 h 8902"/>
              <a:gd name="connsiteX46" fmla="*/ 4341 w 7245"/>
              <a:gd name="connsiteY46" fmla="*/ 4609 h 8902"/>
              <a:gd name="connsiteX47" fmla="*/ 4216 w 7245"/>
              <a:gd name="connsiteY47" fmla="*/ 4530 h 8902"/>
              <a:gd name="connsiteX48" fmla="*/ 4087 w 7245"/>
              <a:gd name="connsiteY48" fmla="*/ 4456 h 8902"/>
              <a:gd name="connsiteX49" fmla="*/ 3957 w 7245"/>
              <a:gd name="connsiteY49" fmla="*/ 4386 h 8902"/>
              <a:gd name="connsiteX50" fmla="*/ 3824 w 7245"/>
              <a:gd name="connsiteY50" fmla="*/ 4317 h 8902"/>
              <a:gd name="connsiteX51" fmla="*/ 3689 w 7245"/>
              <a:gd name="connsiteY51" fmla="*/ 4252 h 8902"/>
              <a:gd name="connsiteX52" fmla="*/ 3556 w 7245"/>
              <a:gd name="connsiteY52" fmla="*/ 4187 h 8902"/>
              <a:gd name="connsiteX53" fmla="*/ 3556 w 7245"/>
              <a:gd name="connsiteY53" fmla="*/ 4187 h 8902"/>
              <a:gd name="connsiteX54" fmla="*/ 3112 w 7245"/>
              <a:gd name="connsiteY54" fmla="*/ 3993 h 8902"/>
              <a:gd name="connsiteX55" fmla="*/ 2672 w 7245"/>
              <a:gd name="connsiteY55" fmla="*/ 3798 h 8902"/>
              <a:gd name="connsiteX56" fmla="*/ 1790 w 7245"/>
              <a:gd name="connsiteY56" fmla="*/ 3414 h 8902"/>
              <a:gd name="connsiteX57" fmla="*/ 1790 w 7245"/>
              <a:gd name="connsiteY57" fmla="*/ 3414 h 8902"/>
              <a:gd name="connsiteX58" fmla="*/ 1642 w 7245"/>
              <a:gd name="connsiteY58" fmla="*/ 3349 h 8902"/>
              <a:gd name="connsiteX59" fmla="*/ 1494 w 7245"/>
              <a:gd name="connsiteY59" fmla="*/ 3279 h 8902"/>
              <a:gd name="connsiteX60" fmla="*/ 1350 w 7245"/>
              <a:gd name="connsiteY60" fmla="*/ 3205 h 8902"/>
              <a:gd name="connsiteX61" fmla="*/ 1211 w 7245"/>
              <a:gd name="connsiteY61" fmla="*/ 3126 h 8902"/>
              <a:gd name="connsiteX62" fmla="*/ 1078 w 7245"/>
              <a:gd name="connsiteY62" fmla="*/ 3038 h 8902"/>
              <a:gd name="connsiteX63" fmla="*/ 948 w 7245"/>
              <a:gd name="connsiteY63" fmla="*/ 2946 h 8902"/>
              <a:gd name="connsiteX64" fmla="*/ 819 w 7245"/>
              <a:gd name="connsiteY64" fmla="*/ 2849 h 8902"/>
              <a:gd name="connsiteX65" fmla="*/ 699 w 7245"/>
              <a:gd name="connsiteY65" fmla="*/ 2742 h 8902"/>
              <a:gd name="connsiteX66" fmla="*/ 699 w 7245"/>
              <a:gd name="connsiteY66" fmla="*/ 2742 h 8902"/>
              <a:gd name="connsiteX67" fmla="*/ 606 w 7245"/>
              <a:gd name="connsiteY67" fmla="*/ 2649 h 8902"/>
              <a:gd name="connsiteX68" fmla="*/ 518 w 7245"/>
              <a:gd name="connsiteY68" fmla="*/ 2557 h 8902"/>
              <a:gd name="connsiteX69" fmla="*/ 435 w 7245"/>
              <a:gd name="connsiteY69" fmla="*/ 2459 h 8902"/>
              <a:gd name="connsiteX70" fmla="*/ 366 w 7245"/>
              <a:gd name="connsiteY70" fmla="*/ 2362 h 8902"/>
              <a:gd name="connsiteX71" fmla="*/ 296 w 7245"/>
              <a:gd name="connsiteY71" fmla="*/ 2260 h 8902"/>
              <a:gd name="connsiteX72" fmla="*/ 236 w 7245"/>
              <a:gd name="connsiteY72" fmla="*/ 2154 h 8902"/>
              <a:gd name="connsiteX73" fmla="*/ 185 w 7245"/>
              <a:gd name="connsiteY73" fmla="*/ 2047 h 8902"/>
              <a:gd name="connsiteX74" fmla="*/ 135 w 7245"/>
              <a:gd name="connsiteY74" fmla="*/ 1941 h 8902"/>
              <a:gd name="connsiteX75" fmla="*/ 98 w 7245"/>
              <a:gd name="connsiteY75" fmla="*/ 1830 h 8902"/>
              <a:gd name="connsiteX76" fmla="*/ 65 w 7245"/>
              <a:gd name="connsiteY76" fmla="*/ 1714 h 8902"/>
              <a:gd name="connsiteX77" fmla="*/ 37 w 7245"/>
              <a:gd name="connsiteY77" fmla="*/ 1593 h 8902"/>
              <a:gd name="connsiteX78" fmla="*/ 18 w 7245"/>
              <a:gd name="connsiteY78" fmla="*/ 1473 h 8902"/>
              <a:gd name="connsiteX79" fmla="*/ 5 w 7245"/>
              <a:gd name="connsiteY79" fmla="*/ 1352 h 8902"/>
              <a:gd name="connsiteX80" fmla="*/ 0 w 7245"/>
              <a:gd name="connsiteY80" fmla="*/ 1227 h 8902"/>
              <a:gd name="connsiteX81" fmla="*/ 0 w 7245"/>
              <a:gd name="connsiteY81" fmla="*/ 1098 h 8902"/>
              <a:gd name="connsiteX82" fmla="*/ 9 w 7245"/>
              <a:gd name="connsiteY82" fmla="*/ 968 h 8902"/>
              <a:gd name="connsiteX83" fmla="*/ 9 w 7245"/>
              <a:gd name="connsiteY83" fmla="*/ 968 h 8902"/>
              <a:gd name="connsiteX84" fmla="*/ 24 w 7245"/>
              <a:gd name="connsiteY84" fmla="*/ 848 h 8902"/>
              <a:gd name="connsiteX85" fmla="*/ 42 w 7245"/>
              <a:gd name="connsiteY85" fmla="*/ 727 h 8902"/>
              <a:gd name="connsiteX86" fmla="*/ 70 w 7245"/>
              <a:gd name="connsiteY86" fmla="*/ 607 h 8902"/>
              <a:gd name="connsiteX87" fmla="*/ 98 w 7245"/>
              <a:gd name="connsiteY87" fmla="*/ 491 h 8902"/>
              <a:gd name="connsiteX88" fmla="*/ 135 w 7245"/>
              <a:gd name="connsiteY88" fmla="*/ 375 h 8902"/>
              <a:gd name="connsiteX89" fmla="*/ 176 w 7245"/>
              <a:gd name="connsiteY89" fmla="*/ 259 h 8902"/>
              <a:gd name="connsiteX90" fmla="*/ 218 w 7245"/>
              <a:gd name="connsiteY90" fmla="*/ 148 h 8902"/>
              <a:gd name="connsiteX91" fmla="*/ 273 w 7245"/>
              <a:gd name="connsiteY91" fmla="*/ 37 h 8902"/>
              <a:gd name="connsiteX92" fmla="*/ 273 w 7245"/>
              <a:gd name="connsiteY92" fmla="*/ 37 h 8902"/>
              <a:gd name="connsiteX93" fmla="*/ 283 w 7245"/>
              <a:gd name="connsiteY93" fmla="*/ 0 h 8902"/>
              <a:gd name="connsiteX94" fmla="*/ 283 w 7245"/>
              <a:gd name="connsiteY94" fmla="*/ 0 h 8902"/>
              <a:gd name="connsiteX0" fmla="*/ 391 w 10589"/>
              <a:gd name="connsiteY0" fmla="*/ 0 h 11417"/>
              <a:gd name="connsiteX1" fmla="*/ 391 w 10589"/>
              <a:gd name="connsiteY1" fmla="*/ 0 h 11417"/>
              <a:gd name="connsiteX2" fmla="*/ 9046 w 10589"/>
              <a:gd name="connsiteY2" fmla="*/ 0 h 11417"/>
              <a:gd name="connsiteX3" fmla="*/ 9649 w 10589"/>
              <a:gd name="connsiteY3" fmla="*/ 9814 h 11417"/>
              <a:gd name="connsiteX4" fmla="*/ 9304 w 10589"/>
              <a:gd name="connsiteY4" fmla="*/ 9620 h 11417"/>
              <a:gd name="connsiteX5" fmla="*/ 8961 w 10589"/>
              <a:gd name="connsiteY5" fmla="*/ 9423 h 11417"/>
              <a:gd name="connsiteX6" fmla="*/ 8628 w 10589"/>
              <a:gd name="connsiteY6" fmla="*/ 9220 h 11417"/>
              <a:gd name="connsiteX7" fmla="*/ 8297 w 10589"/>
              <a:gd name="connsiteY7" fmla="*/ 9011 h 11417"/>
              <a:gd name="connsiteX8" fmla="*/ 7971 w 10589"/>
              <a:gd name="connsiteY8" fmla="*/ 8798 h 11417"/>
              <a:gd name="connsiteX9" fmla="*/ 7645 w 10589"/>
              <a:gd name="connsiteY9" fmla="*/ 8585 h 11417"/>
              <a:gd name="connsiteX10" fmla="*/ 7326 w 10589"/>
              <a:gd name="connsiteY10" fmla="*/ 8361 h 11417"/>
              <a:gd name="connsiteX11" fmla="*/ 7326 w 10589"/>
              <a:gd name="connsiteY11" fmla="*/ 8361 h 11417"/>
              <a:gd name="connsiteX12" fmla="*/ 6955 w 10589"/>
              <a:gd name="connsiteY12" fmla="*/ 8106 h 11417"/>
              <a:gd name="connsiteX13" fmla="*/ 6955 w 10589"/>
              <a:gd name="connsiteY13" fmla="*/ 8106 h 11417"/>
              <a:gd name="connsiteX14" fmla="*/ 7082 w 10589"/>
              <a:gd name="connsiteY14" fmla="*/ 7908 h 11417"/>
              <a:gd name="connsiteX15" fmla="*/ 7199 w 10589"/>
              <a:gd name="connsiteY15" fmla="*/ 7711 h 11417"/>
              <a:gd name="connsiteX16" fmla="*/ 7199 w 10589"/>
              <a:gd name="connsiteY16" fmla="*/ 7711 h 11417"/>
              <a:gd name="connsiteX17" fmla="*/ 7251 w 10589"/>
              <a:gd name="connsiteY17" fmla="*/ 7617 h 11417"/>
              <a:gd name="connsiteX18" fmla="*/ 7295 w 10589"/>
              <a:gd name="connsiteY18" fmla="*/ 7519 h 11417"/>
              <a:gd name="connsiteX19" fmla="*/ 7339 w 10589"/>
              <a:gd name="connsiteY19" fmla="*/ 7420 h 11417"/>
              <a:gd name="connsiteX20" fmla="*/ 7378 w 10589"/>
              <a:gd name="connsiteY20" fmla="*/ 7321 h 11417"/>
              <a:gd name="connsiteX21" fmla="*/ 7409 w 10589"/>
              <a:gd name="connsiteY21" fmla="*/ 7216 h 11417"/>
              <a:gd name="connsiteX22" fmla="*/ 7434 w 10589"/>
              <a:gd name="connsiteY22" fmla="*/ 7118 h 11417"/>
              <a:gd name="connsiteX23" fmla="*/ 7448 w 10589"/>
              <a:gd name="connsiteY23" fmla="*/ 7014 h 11417"/>
              <a:gd name="connsiteX24" fmla="*/ 7460 w 10589"/>
              <a:gd name="connsiteY24" fmla="*/ 6904 h 11417"/>
              <a:gd name="connsiteX25" fmla="*/ 7460 w 10589"/>
              <a:gd name="connsiteY25" fmla="*/ 6904 h 11417"/>
              <a:gd name="connsiteX26" fmla="*/ 7467 w 10589"/>
              <a:gd name="connsiteY26" fmla="*/ 6785 h 11417"/>
              <a:gd name="connsiteX27" fmla="*/ 7455 w 10589"/>
              <a:gd name="connsiteY27" fmla="*/ 6665 h 11417"/>
              <a:gd name="connsiteX28" fmla="*/ 7434 w 10589"/>
              <a:gd name="connsiteY28" fmla="*/ 6550 h 11417"/>
              <a:gd name="connsiteX29" fmla="*/ 7404 w 10589"/>
              <a:gd name="connsiteY29" fmla="*/ 6437 h 11417"/>
              <a:gd name="connsiteX30" fmla="*/ 7358 w 10589"/>
              <a:gd name="connsiteY30" fmla="*/ 6327 h 11417"/>
              <a:gd name="connsiteX31" fmla="*/ 7302 w 10589"/>
              <a:gd name="connsiteY31" fmla="*/ 6218 h 11417"/>
              <a:gd name="connsiteX32" fmla="*/ 7230 w 10589"/>
              <a:gd name="connsiteY32" fmla="*/ 6113 h 11417"/>
              <a:gd name="connsiteX33" fmla="*/ 7154 w 10589"/>
              <a:gd name="connsiteY33" fmla="*/ 6010 h 11417"/>
              <a:gd name="connsiteX34" fmla="*/ 7154 w 10589"/>
              <a:gd name="connsiteY34" fmla="*/ 6010 h 11417"/>
              <a:gd name="connsiteX35" fmla="*/ 7070 w 10589"/>
              <a:gd name="connsiteY35" fmla="*/ 5916 h 11417"/>
              <a:gd name="connsiteX36" fmla="*/ 6981 w 10589"/>
              <a:gd name="connsiteY36" fmla="*/ 5822 h 11417"/>
              <a:gd name="connsiteX37" fmla="*/ 6886 w 10589"/>
              <a:gd name="connsiteY37" fmla="*/ 5739 h 11417"/>
              <a:gd name="connsiteX38" fmla="*/ 6784 w 10589"/>
              <a:gd name="connsiteY38" fmla="*/ 5656 h 11417"/>
              <a:gd name="connsiteX39" fmla="*/ 6675 w 10589"/>
              <a:gd name="connsiteY39" fmla="*/ 5577 h 11417"/>
              <a:gd name="connsiteX40" fmla="*/ 6567 w 10589"/>
              <a:gd name="connsiteY40" fmla="*/ 5504 h 11417"/>
              <a:gd name="connsiteX41" fmla="*/ 6451 w 10589"/>
              <a:gd name="connsiteY41" fmla="*/ 5432 h 11417"/>
              <a:gd name="connsiteX42" fmla="*/ 6337 w 10589"/>
              <a:gd name="connsiteY42" fmla="*/ 5364 h 11417"/>
              <a:gd name="connsiteX43" fmla="*/ 6337 w 10589"/>
              <a:gd name="connsiteY43" fmla="*/ 5364 h 11417"/>
              <a:gd name="connsiteX44" fmla="*/ 6164 w 10589"/>
              <a:gd name="connsiteY44" fmla="*/ 5265 h 11417"/>
              <a:gd name="connsiteX45" fmla="*/ 5992 w 10589"/>
              <a:gd name="connsiteY45" fmla="*/ 5177 h 11417"/>
              <a:gd name="connsiteX46" fmla="*/ 5819 w 10589"/>
              <a:gd name="connsiteY46" fmla="*/ 5089 h 11417"/>
              <a:gd name="connsiteX47" fmla="*/ 5641 w 10589"/>
              <a:gd name="connsiteY47" fmla="*/ 5006 h 11417"/>
              <a:gd name="connsiteX48" fmla="*/ 5462 w 10589"/>
              <a:gd name="connsiteY48" fmla="*/ 4927 h 11417"/>
              <a:gd name="connsiteX49" fmla="*/ 5278 w 10589"/>
              <a:gd name="connsiteY49" fmla="*/ 4849 h 11417"/>
              <a:gd name="connsiteX50" fmla="*/ 5092 w 10589"/>
              <a:gd name="connsiteY50" fmla="*/ 4776 h 11417"/>
              <a:gd name="connsiteX51" fmla="*/ 4908 w 10589"/>
              <a:gd name="connsiteY51" fmla="*/ 4703 h 11417"/>
              <a:gd name="connsiteX52" fmla="*/ 4908 w 10589"/>
              <a:gd name="connsiteY52" fmla="*/ 4703 h 11417"/>
              <a:gd name="connsiteX53" fmla="*/ 4295 w 10589"/>
              <a:gd name="connsiteY53" fmla="*/ 4486 h 11417"/>
              <a:gd name="connsiteX54" fmla="*/ 3688 w 10589"/>
              <a:gd name="connsiteY54" fmla="*/ 4266 h 11417"/>
              <a:gd name="connsiteX55" fmla="*/ 2471 w 10589"/>
              <a:gd name="connsiteY55" fmla="*/ 3835 h 11417"/>
              <a:gd name="connsiteX56" fmla="*/ 2471 w 10589"/>
              <a:gd name="connsiteY56" fmla="*/ 3835 h 11417"/>
              <a:gd name="connsiteX57" fmla="*/ 2266 w 10589"/>
              <a:gd name="connsiteY57" fmla="*/ 3762 h 11417"/>
              <a:gd name="connsiteX58" fmla="*/ 2062 w 10589"/>
              <a:gd name="connsiteY58" fmla="*/ 3683 h 11417"/>
              <a:gd name="connsiteX59" fmla="*/ 1863 w 10589"/>
              <a:gd name="connsiteY59" fmla="*/ 3600 h 11417"/>
              <a:gd name="connsiteX60" fmla="*/ 1671 w 10589"/>
              <a:gd name="connsiteY60" fmla="*/ 3512 h 11417"/>
              <a:gd name="connsiteX61" fmla="*/ 1488 w 10589"/>
              <a:gd name="connsiteY61" fmla="*/ 3413 h 11417"/>
              <a:gd name="connsiteX62" fmla="*/ 1308 w 10589"/>
              <a:gd name="connsiteY62" fmla="*/ 3309 h 11417"/>
              <a:gd name="connsiteX63" fmla="*/ 1130 w 10589"/>
              <a:gd name="connsiteY63" fmla="*/ 3200 h 11417"/>
              <a:gd name="connsiteX64" fmla="*/ 965 w 10589"/>
              <a:gd name="connsiteY64" fmla="*/ 3080 h 11417"/>
              <a:gd name="connsiteX65" fmla="*/ 965 w 10589"/>
              <a:gd name="connsiteY65" fmla="*/ 3080 h 11417"/>
              <a:gd name="connsiteX66" fmla="*/ 836 w 10589"/>
              <a:gd name="connsiteY66" fmla="*/ 2976 h 11417"/>
              <a:gd name="connsiteX67" fmla="*/ 715 w 10589"/>
              <a:gd name="connsiteY67" fmla="*/ 2872 h 11417"/>
              <a:gd name="connsiteX68" fmla="*/ 600 w 10589"/>
              <a:gd name="connsiteY68" fmla="*/ 2762 h 11417"/>
              <a:gd name="connsiteX69" fmla="*/ 505 w 10589"/>
              <a:gd name="connsiteY69" fmla="*/ 2653 h 11417"/>
              <a:gd name="connsiteX70" fmla="*/ 409 w 10589"/>
              <a:gd name="connsiteY70" fmla="*/ 2539 h 11417"/>
              <a:gd name="connsiteX71" fmla="*/ 326 w 10589"/>
              <a:gd name="connsiteY71" fmla="*/ 2420 h 11417"/>
              <a:gd name="connsiteX72" fmla="*/ 255 w 10589"/>
              <a:gd name="connsiteY72" fmla="*/ 2299 h 11417"/>
              <a:gd name="connsiteX73" fmla="*/ 186 w 10589"/>
              <a:gd name="connsiteY73" fmla="*/ 2180 h 11417"/>
              <a:gd name="connsiteX74" fmla="*/ 135 w 10589"/>
              <a:gd name="connsiteY74" fmla="*/ 2056 h 11417"/>
              <a:gd name="connsiteX75" fmla="*/ 90 w 10589"/>
              <a:gd name="connsiteY75" fmla="*/ 1925 h 11417"/>
              <a:gd name="connsiteX76" fmla="*/ 51 w 10589"/>
              <a:gd name="connsiteY76" fmla="*/ 1789 h 11417"/>
              <a:gd name="connsiteX77" fmla="*/ 25 w 10589"/>
              <a:gd name="connsiteY77" fmla="*/ 1655 h 11417"/>
              <a:gd name="connsiteX78" fmla="*/ 7 w 10589"/>
              <a:gd name="connsiteY78" fmla="*/ 1519 h 11417"/>
              <a:gd name="connsiteX79" fmla="*/ 0 w 10589"/>
              <a:gd name="connsiteY79" fmla="*/ 1378 h 11417"/>
              <a:gd name="connsiteX80" fmla="*/ 0 w 10589"/>
              <a:gd name="connsiteY80" fmla="*/ 1233 h 11417"/>
              <a:gd name="connsiteX81" fmla="*/ 12 w 10589"/>
              <a:gd name="connsiteY81" fmla="*/ 1087 h 11417"/>
              <a:gd name="connsiteX82" fmla="*/ 12 w 10589"/>
              <a:gd name="connsiteY82" fmla="*/ 1087 h 11417"/>
              <a:gd name="connsiteX83" fmla="*/ 33 w 10589"/>
              <a:gd name="connsiteY83" fmla="*/ 953 h 11417"/>
              <a:gd name="connsiteX84" fmla="*/ 58 w 10589"/>
              <a:gd name="connsiteY84" fmla="*/ 817 h 11417"/>
              <a:gd name="connsiteX85" fmla="*/ 97 w 10589"/>
              <a:gd name="connsiteY85" fmla="*/ 682 h 11417"/>
              <a:gd name="connsiteX86" fmla="*/ 135 w 10589"/>
              <a:gd name="connsiteY86" fmla="*/ 552 h 11417"/>
              <a:gd name="connsiteX87" fmla="*/ 186 w 10589"/>
              <a:gd name="connsiteY87" fmla="*/ 421 h 11417"/>
              <a:gd name="connsiteX88" fmla="*/ 243 w 10589"/>
              <a:gd name="connsiteY88" fmla="*/ 291 h 11417"/>
              <a:gd name="connsiteX89" fmla="*/ 301 w 10589"/>
              <a:gd name="connsiteY89" fmla="*/ 166 h 11417"/>
              <a:gd name="connsiteX90" fmla="*/ 377 w 10589"/>
              <a:gd name="connsiteY90" fmla="*/ 42 h 11417"/>
              <a:gd name="connsiteX91" fmla="*/ 377 w 10589"/>
              <a:gd name="connsiteY91" fmla="*/ 42 h 11417"/>
              <a:gd name="connsiteX92" fmla="*/ 391 w 10589"/>
              <a:gd name="connsiteY92" fmla="*/ 0 h 11417"/>
              <a:gd name="connsiteX93" fmla="*/ 391 w 10589"/>
              <a:gd name="connsiteY93" fmla="*/ 0 h 11417"/>
              <a:gd name="connsiteX0" fmla="*/ 391 w 10531"/>
              <a:gd name="connsiteY0" fmla="*/ 0 h 9620"/>
              <a:gd name="connsiteX1" fmla="*/ 391 w 10531"/>
              <a:gd name="connsiteY1" fmla="*/ 0 h 9620"/>
              <a:gd name="connsiteX2" fmla="*/ 9046 w 10531"/>
              <a:gd name="connsiteY2" fmla="*/ 0 h 9620"/>
              <a:gd name="connsiteX3" fmla="*/ 9304 w 10531"/>
              <a:gd name="connsiteY3" fmla="*/ 9620 h 9620"/>
              <a:gd name="connsiteX4" fmla="*/ 8961 w 10531"/>
              <a:gd name="connsiteY4" fmla="*/ 9423 h 9620"/>
              <a:gd name="connsiteX5" fmla="*/ 8628 w 10531"/>
              <a:gd name="connsiteY5" fmla="*/ 9220 h 9620"/>
              <a:gd name="connsiteX6" fmla="*/ 8297 w 10531"/>
              <a:gd name="connsiteY6" fmla="*/ 9011 h 9620"/>
              <a:gd name="connsiteX7" fmla="*/ 7971 w 10531"/>
              <a:gd name="connsiteY7" fmla="*/ 8798 h 9620"/>
              <a:gd name="connsiteX8" fmla="*/ 7645 w 10531"/>
              <a:gd name="connsiteY8" fmla="*/ 8585 h 9620"/>
              <a:gd name="connsiteX9" fmla="*/ 7326 w 10531"/>
              <a:gd name="connsiteY9" fmla="*/ 8361 h 9620"/>
              <a:gd name="connsiteX10" fmla="*/ 7326 w 10531"/>
              <a:gd name="connsiteY10" fmla="*/ 8361 h 9620"/>
              <a:gd name="connsiteX11" fmla="*/ 6955 w 10531"/>
              <a:gd name="connsiteY11" fmla="*/ 8106 h 9620"/>
              <a:gd name="connsiteX12" fmla="*/ 6955 w 10531"/>
              <a:gd name="connsiteY12" fmla="*/ 8106 h 9620"/>
              <a:gd name="connsiteX13" fmla="*/ 7082 w 10531"/>
              <a:gd name="connsiteY13" fmla="*/ 7908 h 9620"/>
              <a:gd name="connsiteX14" fmla="*/ 7199 w 10531"/>
              <a:gd name="connsiteY14" fmla="*/ 7711 h 9620"/>
              <a:gd name="connsiteX15" fmla="*/ 7199 w 10531"/>
              <a:gd name="connsiteY15" fmla="*/ 7711 h 9620"/>
              <a:gd name="connsiteX16" fmla="*/ 7251 w 10531"/>
              <a:gd name="connsiteY16" fmla="*/ 7617 h 9620"/>
              <a:gd name="connsiteX17" fmla="*/ 7295 w 10531"/>
              <a:gd name="connsiteY17" fmla="*/ 7519 h 9620"/>
              <a:gd name="connsiteX18" fmla="*/ 7339 w 10531"/>
              <a:gd name="connsiteY18" fmla="*/ 7420 h 9620"/>
              <a:gd name="connsiteX19" fmla="*/ 7378 w 10531"/>
              <a:gd name="connsiteY19" fmla="*/ 7321 h 9620"/>
              <a:gd name="connsiteX20" fmla="*/ 7409 w 10531"/>
              <a:gd name="connsiteY20" fmla="*/ 7216 h 9620"/>
              <a:gd name="connsiteX21" fmla="*/ 7434 w 10531"/>
              <a:gd name="connsiteY21" fmla="*/ 7118 h 9620"/>
              <a:gd name="connsiteX22" fmla="*/ 7448 w 10531"/>
              <a:gd name="connsiteY22" fmla="*/ 7014 h 9620"/>
              <a:gd name="connsiteX23" fmla="*/ 7460 w 10531"/>
              <a:gd name="connsiteY23" fmla="*/ 6904 h 9620"/>
              <a:gd name="connsiteX24" fmla="*/ 7460 w 10531"/>
              <a:gd name="connsiteY24" fmla="*/ 6904 h 9620"/>
              <a:gd name="connsiteX25" fmla="*/ 7467 w 10531"/>
              <a:gd name="connsiteY25" fmla="*/ 6785 h 9620"/>
              <a:gd name="connsiteX26" fmla="*/ 7455 w 10531"/>
              <a:gd name="connsiteY26" fmla="*/ 6665 h 9620"/>
              <a:gd name="connsiteX27" fmla="*/ 7434 w 10531"/>
              <a:gd name="connsiteY27" fmla="*/ 6550 h 9620"/>
              <a:gd name="connsiteX28" fmla="*/ 7404 w 10531"/>
              <a:gd name="connsiteY28" fmla="*/ 6437 h 9620"/>
              <a:gd name="connsiteX29" fmla="*/ 7358 w 10531"/>
              <a:gd name="connsiteY29" fmla="*/ 6327 h 9620"/>
              <a:gd name="connsiteX30" fmla="*/ 7302 w 10531"/>
              <a:gd name="connsiteY30" fmla="*/ 6218 h 9620"/>
              <a:gd name="connsiteX31" fmla="*/ 7230 w 10531"/>
              <a:gd name="connsiteY31" fmla="*/ 6113 h 9620"/>
              <a:gd name="connsiteX32" fmla="*/ 7154 w 10531"/>
              <a:gd name="connsiteY32" fmla="*/ 6010 h 9620"/>
              <a:gd name="connsiteX33" fmla="*/ 7154 w 10531"/>
              <a:gd name="connsiteY33" fmla="*/ 6010 h 9620"/>
              <a:gd name="connsiteX34" fmla="*/ 7070 w 10531"/>
              <a:gd name="connsiteY34" fmla="*/ 5916 h 9620"/>
              <a:gd name="connsiteX35" fmla="*/ 6981 w 10531"/>
              <a:gd name="connsiteY35" fmla="*/ 5822 h 9620"/>
              <a:gd name="connsiteX36" fmla="*/ 6886 w 10531"/>
              <a:gd name="connsiteY36" fmla="*/ 5739 h 9620"/>
              <a:gd name="connsiteX37" fmla="*/ 6784 w 10531"/>
              <a:gd name="connsiteY37" fmla="*/ 5656 h 9620"/>
              <a:gd name="connsiteX38" fmla="*/ 6675 w 10531"/>
              <a:gd name="connsiteY38" fmla="*/ 5577 h 9620"/>
              <a:gd name="connsiteX39" fmla="*/ 6567 w 10531"/>
              <a:gd name="connsiteY39" fmla="*/ 5504 h 9620"/>
              <a:gd name="connsiteX40" fmla="*/ 6451 w 10531"/>
              <a:gd name="connsiteY40" fmla="*/ 5432 h 9620"/>
              <a:gd name="connsiteX41" fmla="*/ 6337 w 10531"/>
              <a:gd name="connsiteY41" fmla="*/ 5364 h 9620"/>
              <a:gd name="connsiteX42" fmla="*/ 6337 w 10531"/>
              <a:gd name="connsiteY42" fmla="*/ 5364 h 9620"/>
              <a:gd name="connsiteX43" fmla="*/ 6164 w 10531"/>
              <a:gd name="connsiteY43" fmla="*/ 5265 h 9620"/>
              <a:gd name="connsiteX44" fmla="*/ 5992 w 10531"/>
              <a:gd name="connsiteY44" fmla="*/ 5177 h 9620"/>
              <a:gd name="connsiteX45" fmla="*/ 5819 w 10531"/>
              <a:gd name="connsiteY45" fmla="*/ 5089 h 9620"/>
              <a:gd name="connsiteX46" fmla="*/ 5641 w 10531"/>
              <a:gd name="connsiteY46" fmla="*/ 5006 h 9620"/>
              <a:gd name="connsiteX47" fmla="*/ 5462 w 10531"/>
              <a:gd name="connsiteY47" fmla="*/ 4927 h 9620"/>
              <a:gd name="connsiteX48" fmla="*/ 5278 w 10531"/>
              <a:gd name="connsiteY48" fmla="*/ 4849 h 9620"/>
              <a:gd name="connsiteX49" fmla="*/ 5092 w 10531"/>
              <a:gd name="connsiteY49" fmla="*/ 4776 h 9620"/>
              <a:gd name="connsiteX50" fmla="*/ 4908 w 10531"/>
              <a:gd name="connsiteY50" fmla="*/ 4703 h 9620"/>
              <a:gd name="connsiteX51" fmla="*/ 4908 w 10531"/>
              <a:gd name="connsiteY51" fmla="*/ 4703 h 9620"/>
              <a:gd name="connsiteX52" fmla="*/ 4295 w 10531"/>
              <a:gd name="connsiteY52" fmla="*/ 4486 h 9620"/>
              <a:gd name="connsiteX53" fmla="*/ 3688 w 10531"/>
              <a:gd name="connsiteY53" fmla="*/ 4266 h 9620"/>
              <a:gd name="connsiteX54" fmla="*/ 2471 w 10531"/>
              <a:gd name="connsiteY54" fmla="*/ 3835 h 9620"/>
              <a:gd name="connsiteX55" fmla="*/ 2471 w 10531"/>
              <a:gd name="connsiteY55" fmla="*/ 3835 h 9620"/>
              <a:gd name="connsiteX56" fmla="*/ 2266 w 10531"/>
              <a:gd name="connsiteY56" fmla="*/ 3762 h 9620"/>
              <a:gd name="connsiteX57" fmla="*/ 2062 w 10531"/>
              <a:gd name="connsiteY57" fmla="*/ 3683 h 9620"/>
              <a:gd name="connsiteX58" fmla="*/ 1863 w 10531"/>
              <a:gd name="connsiteY58" fmla="*/ 3600 h 9620"/>
              <a:gd name="connsiteX59" fmla="*/ 1671 w 10531"/>
              <a:gd name="connsiteY59" fmla="*/ 3512 h 9620"/>
              <a:gd name="connsiteX60" fmla="*/ 1488 w 10531"/>
              <a:gd name="connsiteY60" fmla="*/ 3413 h 9620"/>
              <a:gd name="connsiteX61" fmla="*/ 1308 w 10531"/>
              <a:gd name="connsiteY61" fmla="*/ 3309 h 9620"/>
              <a:gd name="connsiteX62" fmla="*/ 1130 w 10531"/>
              <a:gd name="connsiteY62" fmla="*/ 3200 h 9620"/>
              <a:gd name="connsiteX63" fmla="*/ 965 w 10531"/>
              <a:gd name="connsiteY63" fmla="*/ 3080 h 9620"/>
              <a:gd name="connsiteX64" fmla="*/ 965 w 10531"/>
              <a:gd name="connsiteY64" fmla="*/ 3080 h 9620"/>
              <a:gd name="connsiteX65" fmla="*/ 836 w 10531"/>
              <a:gd name="connsiteY65" fmla="*/ 2976 h 9620"/>
              <a:gd name="connsiteX66" fmla="*/ 715 w 10531"/>
              <a:gd name="connsiteY66" fmla="*/ 2872 h 9620"/>
              <a:gd name="connsiteX67" fmla="*/ 600 w 10531"/>
              <a:gd name="connsiteY67" fmla="*/ 2762 h 9620"/>
              <a:gd name="connsiteX68" fmla="*/ 505 w 10531"/>
              <a:gd name="connsiteY68" fmla="*/ 2653 h 9620"/>
              <a:gd name="connsiteX69" fmla="*/ 409 w 10531"/>
              <a:gd name="connsiteY69" fmla="*/ 2539 h 9620"/>
              <a:gd name="connsiteX70" fmla="*/ 326 w 10531"/>
              <a:gd name="connsiteY70" fmla="*/ 2420 h 9620"/>
              <a:gd name="connsiteX71" fmla="*/ 255 w 10531"/>
              <a:gd name="connsiteY71" fmla="*/ 2299 h 9620"/>
              <a:gd name="connsiteX72" fmla="*/ 186 w 10531"/>
              <a:gd name="connsiteY72" fmla="*/ 2180 h 9620"/>
              <a:gd name="connsiteX73" fmla="*/ 135 w 10531"/>
              <a:gd name="connsiteY73" fmla="*/ 2056 h 9620"/>
              <a:gd name="connsiteX74" fmla="*/ 90 w 10531"/>
              <a:gd name="connsiteY74" fmla="*/ 1925 h 9620"/>
              <a:gd name="connsiteX75" fmla="*/ 51 w 10531"/>
              <a:gd name="connsiteY75" fmla="*/ 1789 h 9620"/>
              <a:gd name="connsiteX76" fmla="*/ 25 w 10531"/>
              <a:gd name="connsiteY76" fmla="*/ 1655 h 9620"/>
              <a:gd name="connsiteX77" fmla="*/ 7 w 10531"/>
              <a:gd name="connsiteY77" fmla="*/ 1519 h 9620"/>
              <a:gd name="connsiteX78" fmla="*/ 0 w 10531"/>
              <a:gd name="connsiteY78" fmla="*/ 1378 h 9620"/>
              <a:gd name="connsiteX79" fmla="*/ 0 w 10531"/>
              <a:gd name="connsiteY79" fmla="*/ 1233 h 9620"/>
              <a:gd name="connsiteX80" fmla="*/ 12 w 10531"/>
              <a:gd name="connsiteY80" fmla="*/ 1087 h 9620"/>
              <a:gd name="connsiteX81" fmla="*/ 12 w 10531"/>
              <a:gd name="connsiteY81" fmla="*/ 1087 h 9620"/>
              <a:gd name="connsiteX82" fmla="*/ 33 w 10531"/>
              <a:gd name="connsiteY82" fmla="*/ 953 h 9620"/>
              <a:gd name="connsiteX83" fmla="*/ 58 w 10531"/>
              <a:gd name="connsiteY83" fmla="*/ 817 h 9620"/>
              <a:gd name="connsiteX84" fmla="*/ 97 w 10531"/>
              <a:gd name="connsiteY84" fmla="*/ 682 h 9620"/>
              <a:gd name="connsiteX85" fmla="*/ 135 w 10531"/>
              <a:gd name="connsiteY85" fmla="*/ 552 h 9620"/>
              <a:gd name="connsiteX86" fmla="*/ 186 w 10531"/>
              <a:gd name="connsiteY86" fmla="*/ 421 h 9620"/>
              <a:gd name="connsiteX87" fmla="*/ 243 w 10531"/>
              <a:gd name="connsiteY87" fmla="*/ 291 h 9620"/>
              <a:gd name="connsiteX88" fmla="*/ 301 w 10531"/>
              <a:gd name="connsiteY88" fmla="*/ 166 h 9620"/>
              <a:gd name="connsiteX89" fmla="*/ 377 w 10531"/>
              <a:gd name="connsiteY89" fmla="*/ 42 h 9620"/>
              <a:gd name="connsiteX90" fmla="*/ 377 w 10531"/>
              <a:gd name="connsiteY90" fmla="*/ 42 h 9620"/>
              <a:gd name="connsiteX91" fmla="*/ 391 w 10531"/>
              <a:gd name="connsiteY91" fmla="*/ 0 h 9620"/>
              <a:gd name="connsiteX92" fmla="*/ 391 w 10531"/>
              <a:gd name="connsiteY92" fmla="*/ 0 h 9620"/>
              <a:gd name="connsiteX0" fmla="*/ 371 w 10000"/>
              <a:gd name="connsiteY0" fmla="*/ 0 h 9889"/>
              <a:gd name="connsiteX1" fmla="*/ 371 w 10000"/>
              <a:gd name="connsiteY1" fmla="*/ 0 h 9889"/>
              <a:gd name="connsiteX2" fmla="*/ 8590 w 10000"/>
              <a:gd name="connsiteY2" fmla="*/ 0 h 9889"/>
              <a:gd name="connsiteX3" fmla="*/ 8796 w 10000"/>
              <a:gd name="connsiteY3" fmla="*/ 9889 h 9889"/>
              <a:gd name="connsiteX4" fmla="*/ 8509 w 10000"/>
              <a:gd name="connsiteY4" fmla="*/ 9795 h 9889"/>
              <a:gd name="connsiteX5" fmla="*/ 8193 w 10000"/>
              <a:gd name="connsiteY5" fmla="*/ 9584 h 9889"/>
              <a:gd name="connsiteX6" fmla="*/ 7879 w 10000"/>
              <a:gd name="connsiteY6" fmla="*/ 9367 h 9889"/>
              <a:gd name="connsiteX7" fmla="*/ 7569 w 10000"/>
              <a:gd name="connsiteY7" fmla="*/ 9146 h 9889"/>
              <a:gd name="connsiteX8" fmla="*/ 7260 w 10000"/>
              <a:gd name="connsiteY8" fmla="*/ 8924 h 9889"/>
              <a:gd name="connsiteX9" fmla="*/ 6957 w 10000"/>
              <a:gd name="connsiteY9" fmla="*/ 8691 h 9889"/>
              <a:gd name="connsiteX10" fmla="*/ 6957 w 10000"/>
              <a:gd name="connsiteY10" fmla="*/ 8691 h 9889"/>
              <a:gd name="connsiteX11" fmla="*/ 6604 w 10000"/>
              <a:gd name="connsiteY11" fmla="*/ 8426 h 9889"/>
              <a:gd name="connsiteX12" fmla="*/ 6604 w 10000"/>
              <a:gd name="connsiteY12" fmla="*/ 8426 h 9889"/>
              <a:gd name="connsiteX13" fmla="*/ 6725 w 10000"/>
              <a:gd name="connsiteY13" fmla="*/ 8220 h 9889"/>
              <a:gd name="connsiteX14" fmla="*/ 6836 w 10000"/>
              <a:gd name="connsiteY14" fmla="*/ 8016 h 9889"/>
              <a:gd name="connsiteX15" fmla="*/ 6836 w 10000"/>
              <a:gd name="connsiteY15" fmla="*/ 8016 h 9889"/>
              <a:gd name="connsiteX16" fmla="*/ 6885 w 10000"/>
              <a:gd name="connsiteY16" fmla="*/ 7918 h 9889"/>
              <a:gd name="connsiteX17" fmla="*/ 6927 w 10000"/>
              <a:gd name="connsiteY17" fmla="*/ 7816 h 9889"/>
              <a:gd name="connsiteX18" fmla="*/ 6969 w 10000"/>
              <a:gd name="connsiteY18" fmla="*/ 7713 h 9889"/>
              <a:gd name="connsiteX19" fmla="*/ 7006 w 10000"/>
              <a:gd name="connsiteY19" fmla="*/ 7610 h 9889"/>
              <a:gd name="connsiteX20" fmla="*/ 7035 w 10000"/>
              <a:gd name="connsiteY20" fmla="*/ 7501 h 9889"/>
              <a:gd name="connsiteX21" fmla="*/ 7059 w 10000"/>
              <a:gd name="connsiteY21" fmla="*/ 7399 h 9889"/>
              <a:gd name="connsiteX22" fmla="*/ 7072 w 10000"/>
              <a:gd name="connsiteY22" fmla="*/ 7291 h 9889"/>
              <a:gd name="connsiteX23" fmla="*/ 7084 w 10000"/>
              <a:gd name="connsiteY23" fmla="*/ 7177 h 9889"/>
              <a:gd name="connsiteX24" fmla="*/ 7084 w 10000"/>
              <a:gd name="connsiteY24" fmla="*/ 7177 h 9889"/>
              <a:gd name="connsiteX25" fmla="*/ 7090 w 10000"/>
              <a:gd name="connsiteY25" fmla="*/ 7053 h 9889"/>
              <a:gd name="connsiteX26" fmla="*/ 7079 w 10000"/>
              <a:gd name="connsiteY26" fmla="*/ 6928 h 9889"/>
              <a:gd name="connsiteX27" fmla="*/ 7059 w 10000"/>
              <a:gd name="connsiteY27" fmla="*/ 6809 h 9889"/>
              <a:gd name="connsiteX28" fmla="*/ 7031 w 10000"/>
              <a:gd name="connsiteY28" fmla="*/ 6691 h 9889"/>
              <a:gd name="connsiteX29" fmla="*/ 6987 w 10000"/>
              <a:gd name="connsiteY29" fmla="*/ 6577 h 9889"/>
              <a:gd name="connsiteX30" fmla="*/ 6934 w 10000"/>
              <a:gd name="connsiteY30" fmla="*/ 6464 h 9889"/>
              <a:gd name="connsiteX31" fmla="*/ 6865 w 10000"/>
              <a:gd name="connsiteY31" fmla="*/ 6354 h 9889"/>
              <a:gd name="connsiteX32" fmla="*/ 6793 w 10000"/>
              <a:gd name="connsiteY32" fmla="*/ 6247 h 9889"/>
              <a:gd name="connsiteX33" fmla="*/ 6793 w 10000"/>
              <a:gd name="connsiteY33" fmla="*/ 6247 h 9889"/>
              <a:gd name="connsiteX34" fmla="*/ 6714 w 10000"/>
              <a:gd name="connsiteY34" fmla="*/ 6150 h 9889"/>
              <a:gd name="connsiteX35" fmla="*/ 6629 w 10000"/>
              <a:gd name="connsiteY35" fmla="*/ 6052 h 9889"/>
              <a:gd name="connsiteX36" fmla="*/ 6539 w 10000"/>
              <a:gd name="connsiteY36" fmla="*/ 5966 h 9889"/>
              <a:gd name="connsiteX37" fmla="*/ 6442 w 10000"/>
              <a:gd name="connsiteY37" fmla="*/ 5879 h 9889"/>
              <a:gd name="connsiteX38" fmla="*/ 6338 w 10000"/>
              <a:gd name="connsiteY38" fmla="*/ 5797 h 9889"/>
              <a:gd name="connsiteX39" fmla="*/ 6236 w 10000"/>
              <a:gd name="connsiteY39" fmla="*/ 5721 h 9889"/>
              <a:gd name="connsiteX40" fmla="*/ 6126 w 10000"/>
              <a:gd name="connsiteY40" fmla="*/ 5647 h 9889"/>
              <a:gd name="connsiteX41" fmla="*/ 6017 w 10000"/>
              <a:gd name="connsiteY41" fmla="*/ 5576 h 9889"/>
              <a:gd name="connsiteX42" fmla="*/ 6017 w 10000"/>
              <a:gd name="connsiteY42" fmla="*/ 5576 h 9889"/>
              <a:gd name="connsiteX43" fmla="*/ 5853 w 10000"/>
              <a:gd name="connsiteY43" fmla="*/ 5473 h 9889"/>
              <a:gd name="connsiteX44" fmla="*/ 5690 w 10000"/>
              <a:gd name="connsiteY44" fmla="*/ 5381 h 9889"/>
              <a:gd name="connsiteX45" fmla="*/ 5526 w 10000"/>
              <a:gd name="connsiteY45" fmla="*/ 5290 h 9889"/>
              <a:gd name="connsiteX46" fmla="*/ 5357 w 10000"/>
              <a:gd name="connsiteY46" fmla="*/ 5204 h 9889"/>
              <a:gd name="connsiteX47" fmla="*/ 5187 w 10000"/>
              <a:gd name="connsiteY47" fmla="*/ 5122 h 9889"/>
              <a:gd name="connsiteX48" fmla="*/ 5012 w 10000"/>
              <a:gd name="connsiteY48" fmla="*/ 5041 h 9889"/>
              <a:gd name="connsiteX49" fmla="*/ 4835 w 10000"/>
              <a:gd name="connsiteY49" fmla="*/ 4965 h 9889"/>
              <a:gd name="connsiteX50" fmla="*/ 4661 w 10000"/>
              <a:gd name="connsiteY50" fmla="*/ 4889 h 9889"/>
              <a:gd name="connsiteX51" fmla="*/ 4661 w 10000"/>
              <a:gd name="connsiteY51" fmla="*/ 4889 h 9889"/>
              <a:gd name="connsiteX52" fmla="*/ 4078 w 10000"/>
              <a:gd name="connsiteY52" fmla="*/ 4663 h 9889"/>
              <a:gd name="connsiteX53" fmla="*/ 3502 w 10000"/>
              <a:gd name="connsiteY53" fmla="*/ 4435 h 9889"/>
              <a:gd name="connsiteX54" fmla="*/ 2346 w 10000"/>
              <a:gd name="connsiteY54" fmla="*/ 3986 h 9889"/>
              <a:gd name="connsiteX55" fmla="*/ 2346 w 10000"/>
              <a:gd name="connsiteY55" fmla="*/ 3986 h 9889"/>
              <a:gd name="connsiteX56" fmla="*/ 2152 w 10000"/>
              <a:gd name="connsiteY56" fmla="*/ 3911 h 9889"/>
              <a:gd name="connsiteX57" fmla="*/ 1958 w 10000"/>
              <a:gd name="connsiteY57" fmla="*/ 3828 h 9889"/>
              <a:gd name="connsiteX58" fmla="*/ 1769 w 10000"/>
              <a:gd name="connsiteY58" fmla="*/ 3742 h 9889"/>
              <a:gd name="connsiteX59" fmla="*/ 1587 w 10000"/>
              <a:gd name="connsiteY59" fmla="*/ 3651 h 9889"/>
              <a:gd name="connsiteX60" fmla="*/ 1413 w 10000"/>
              <a:gd name="connsiteY60" fmla="*/ 3548 h 9889"/>
              <a:gd name="connsiteX61" fmla="*/ 1242 w 10000"/>
              <a:gd name="connsiteY61" fmla="*/ 3440 h 9889"/>
              <a:gd name="connsiteX62" fmla="*/ 1073 w 10000"/>
              <a:gd name="connsiteY62" fmla="*/ 3326 h 9889"/>
              <a:gd name="connsiteX63" fmla="*/ 916 w 10000"/>
              <a:gd name="connsiteY63" fmla="*/ 3202 h 9889"/>
              <a:gd name="connsiteX64" fmla="*/ 916 w 10000"/>
              <a:gd name="connsiteY64" fmla="*/ 3202 h 9889"/>
              <a:gd name="connsiteX65" fmla="*/ 794 w 10000"/>
              <a:gd name="connsiteY65" fmla="*/ 3094 h 9889"/>
              <a:gd name="connsiteX66" fmla="*/ 679 w 10000"/>
              <a:gd name="connsiteY66" fmla="*/ 2985 h 9889"/>
              <a:gd name="connsiteX67" fmla="*/ 570 w 10000"/>
              <a:gd name="connsiteY67" fmla="*/ 2871 h 9889"/>
              <a:gd name="connsiteX68" fmla="*/ 480 w 10000"/>
              <a:gd name="connsiteY68" fmla="*/ 2758 h 9889"/>
              <a:gd name="connsiteX69" fmla="*/ 388 w 10000"/>
              <a:gd name="connsiteY69" fmla="*/ 2639 h 9889"/>
              <a:gd name="connsiteX70" fmla="*/ 310 w 10000"/>
              <a:gd name="connsiteY70" fmla="*/ 2516 h 9889"/>
              <a:gd name="connsiteX71" fmla="*/ 242 w 10000"/>
              <a:gd name="connsiteY71" fmla="*/ 2390 h 9889"/>
              <a:gd name="connsiteX72" fmla="*/ 177 w 10000"/>
              <a:gd name="connsiteY72" fmla="*/ 2266 h 9889"/>
              <a:gd name="connsiteX73" fmla="*/ 128 w 10000"/>
              <a:gd name="connsiteY73" fmla="*/ 2137 h 9889"/>
              <a:gd name="connsiteX74" fmla="*/ 85 w 10000"/>
              <a:gd name="connsiteY74" fmla="*/ 2001 h 9889"/>
              <a:gd name="connsiteX75" fmla="*/ 48 w 10000"/>
              <a:gd name="connsiteY75" fmla="*/ 1860 h 9889"/>
              <a:gd name="connsiteX76" fmla="*/ 24 w 10000"/>
              <a:gd name="connsiteY76" fmla="*/ 1720 h 9889"/>
              <a:gd name="connsiteX77" fmla="*/ 7 w 10000"/>
              <a:gd name="connsiteY77" fmla="*/ 1579 h 9889"/>
              <a:gd name="connsiteX78" fmla="*/ 0 w 10000"/>
              <a:gd name="connsiteY78" fmla="*/ 1432 h 9889"/>
              <a:gd name="connsiteX79" fmla="*/ 0 w 10000"/>
              <a:gd name="connsiteY79" fmla="*/ 1282 h 9889"/>
              <a:gd name="connsiteX80" fmla="*/ 11 w 10000"/>
              <a:gd name="connsiteY80" fmla="*/ 1130 h 9889"/>
              <a:gd name="connsiteX81" fmla="*/ 11 w 10000"/>
              <a:gd name="connsiteY81" fmla="*/ 1130 h 9889"/>
              <a:gd name="connsiteX82" fmla="*/ 31 w 10000"/>
              <a:gd name="connsiteY82" fmla="*/ 991 h 9889"/>
              <a:gd name="connsiteX83" fmla="*/ 55 w 10000"/>
              <a:gd name="connsiteY83" fmla="*/ 849 h 9889"/>
              <a:gd name="connsiteX84" fmla="*/ 92 w 10000"/>
              <a:gd name="connsiteY84" fmla="*/ 709 h 9889"/>
              <a:gd name="connsiteX85" fmla="*/ 128 w 10000"/>
              <a:gd name="connsiteY85" fmla="*/ 574 h 9889"/>
              <a:gd name="connsiteX86" fmla="*/ 177 w 10000"/>
              <a:gd name="connsiteY86" fmla="*/ 438 h 9889"/>
              <a:gd name="connsiteX87" fmla="*/ 231 w 10000"/>
              <a:gd name="connsiteY87" fmla="*/ 302 h 9889"/>
              <a:gd name="connsiteX88" fmla="*/ 286 w 10000"/>
              <a:gd name="connsiteY88" fmla="*/ 173 h 9889"/>
              <a:gd name="connsiteX89" fmla="*/ 358 w 10000"/>
              <a:gd name="connsiteY89" fmla="*/ 44 h 9889"/>
              <a:gd name="connsiteX90" fmla="*/ 358 w 10000"/>
              <a:gd name="connsiteY90" fmla="*/ 44 h 9889"/>
              <a:gd name="connsiteX91" fmla="*/ 371 w 10000"/>
              <a:gd name="connsiteY91" fmla="*/ 0 h 9889"/>
              <a:gd name="connsiteX92" fmla="*/ 371 w 10000"/>
              <a:gd name="connsiteY92" fmla="*/ 0 h 9889"/>
              <a:gd name="connsiteX0" fmla="*/ 371 w 10000"/>
              <a:gd name="connsiteY0" fmla="*/ 0 h 10000"/>
              <a:gd name="connsiteX1" fmla="*/ 371 w 10000"/>
              <a:gd name="connsiteY1" fmla="*/ 0 h 10000"/>
              <a:gd name="connsiteX2" fmla="*/ 8590 w 10000"/>
              <a:gd name="connsiteY2" fmla="*/ 0 h 10000"/>
              <a:gd name="connsiteX3" fmla="*/ 8796 w 10000"/>
              <a:gd name="connsiteY3" fmla="*/ 10000 h 10000"/>
              <a:gd name="connsiteX4" fmla="*/ 8509 w 10000"/>
              <a:gd name="connsiteY4" fmla="*/ 9905 h 10000"/>
              <a:gd name="connsiteX5" fmla="*/ 8193 w 10000"/>
              <a:gd name="connsiteY5" fmla="*/ 9692 h 10000"/>
              <a:gd name="connsiteX6" fmla="*/ 7879 w 10000"/>
              <a:gd name="connsiteY6" fmla="*/ 9472 h 10000"/>
              <a:gd name="connsiteX7" fmla="*/ 7569 w 10000"/>
              <a:gd name="connsiteY7" fmla="*/ 9249 h 10000"/>
              <a:gd name="connsiteX8" fmla="*/ 7260 w 10000"/>
              <a:gd name="connsiteY8" fmla="*/ 9024 h 10000"/>
              <a:gd name="connsiteX9" fmla="*/ 6957 w 10000"/>
              <a:gd name="connsiteY9" fmla="*/ 8789 h 10000"/>
              <a:gd name="connsiteX10" fmla="*/ 6957 w 10000"/>
              <a:gd name="connsiteY10" fmla="*/ 8789 h 10000"/>
              <a:gd name="connsiteX11" fmla="*/ 6604 w 10000"/>
              <a:gd name="connsiteY11" fmla="*/ 8521 h 10000"/>
              <a:gd name="connsiteX12" fmla="*/ 6604 w 10000"/>
              <a:gd name="connsiteY12" fmla="*/ 8521 h 10000"/>
              <a:gd name="connsiteX13" fmla="*/ 6725 w 10000"/>
              <a:gd name="connsiteY13" fmla="*/ 8312 h 10000"/>
              <a:gd name="connsiteX14" fmla="*/ 6836 w 10000"/>
              <a:gd name="connsiteY14" fmla="*/ 8106 h 10000"/>
              <a:gd name="connsiteX15" fmla="*/ 6836 w 10000"/>
              <a:gd name="connsiteY15" fmla="*/ 8106 h 10000"/>
              <a:gd name="connsiteX16" fmla="*/ 6885 w 10000"/>
              <a:gd name="connsiteY16" fmla="*/ 8007 h 10000"/>
              <a:gd name="connsiteX17" fmla="*/ 6927 w 10000"/>
              <a:gd name="connsiteY17" fmla="*/ 7904 h 10000"/>
              <a:gd name="connsiteX18" fmla="*/ 6969 w 10000"/>
              <a:gd name="connsiteY18" fmla="*/ 7800 h 10000"/>
              <a:gd name="connsiteX19" fmla="*/ 7006 w 10000"/>
              <a:gd name="connsiteY19" fmla="*/ 7695 h 10000"/>
              <a:gd name="connsiteX20" fmla="*/ 7035 w 10000"/>
              <a:gd name="connsiteY20" fmla="*/ 7585 h 10000"/>
              <a:gd name="connsiteX21" fmla="*/ 7059 w 10000"/>
              <a:gd name="connsiteY21" fmla="*/ 7482 h 10000"/>
              <a:gd name="connsiteX22" fmla="*/ 7072 w 10000"/>
              <a:gd name="connsiteY22" fmla="*/ 7373 h 10000"/>
              <a:gd name="connsiteX23" fmla="*/ 7084 w 10000"/>
              <a:gd name="connsiteY23" fmla="*/ 7258 h 10000"/>
              <a:gd name="connsiteX24" fmla="*/ 7084 w 10000"/>
              <a:gd name="connsiteY24" fmla="*/ 7258 h 10000"/>
              <a:gd name="connsiteX25" fmla="*/ 7090 w 10000"/>
              <a:gd name="connsiteY25" fmla="*/ 7132 h 10000"/>
              <a:gd name="connsiteX26" fmla="*/ 7079 w 10000"/>
              <a:gd name="connsiteY26" fmla="*/ 7006 h 10000"/>
              <a:gd name="connsiteX27" fmla="*/ 7059 w 10000"/>
              <a:gd name="connsiteY27" fmla="*/ 6885 h 10000"/>
              <a:gd name="connsiteX28" fmla="*/ 7031 w 10000"/>
              <a:gd name="connsiteY28" fmla="*/ 6766 h 10000"/>
              <a:gd name="connsiteX29" fmla="*/ 6987 w 10000"/>
              <a:gd name="connsiteY29" fmla="*/ 6651 h 10000"/>
              <a:gd name="connsiteX30" fmla="*/ 6934 w 10000"/>
              <a:gd name="connsiteY30" fmla="*/ 6537 h 10000"/>
              <a:gd name="connsiteX31" fmla="*/ 6865 w 10000"/>
              <a:gd name="connsiteY31" fmla="*/ 6425 h 10000"/>
              <a:gd name="connsiteX32" fmla="*/ 6793 w 10000"/>
              <a:gd name="connsiteY32" fmla="*/ 6317 h 10000"/>
              <a:gd name="connsiteX33" fmla="*/ 6793 w 10000"/>
              <a:gd name="connsiteY33" fmla="*/ 6317 h 10000"/>
              <a:gd name="connsiteX34" fmla="*/ 6714 w 10000"/>
              <a:gd name="connsiteY34" fmla="*/ 6219 h 10000"/>
              <a:gd name="connsiteX35" fmla="*/ 6629 w 10000"/>
              <a:gd name="connsiteY35" fmla="*/ 6120 h 10000"/>
              <a:gd name="connsiteX36" fmla="*/ 6539 w 10000"/>
              <a:gd name="connsiteY36" fmla="*/ 6033 h 10000"/>
              <a:gd name="connsiteX37" fmla="*/ 6442 w 10000"/>
              <a:gd name="connsiteY37" fmla="*/ 5945 h 10000"/>
              <a:gd name="connsiteX38" fmla="*/ 6338 w 10000"/>
              <a:gd name="connsiteY38" fmla="*/ 5862 h 10000"/>
              <a:gd name="connsiteX39" fmla="*/ 6236 w 10000"/>
              <a:gd name="connsiteY39" fmla="*/ 5785 h 10000"/>
              <a:gd name="connsiteX40" fmla="*/ 6126 w 10000"/>
              <a:gd name="connsiteY40" fmla="*/ 5710 h 10000"/>
              <a:gd name="connsiteX41" fmla="*/ 6017 w 10000"/>
              <a:gd name="connsiteY41" fmla="*/ 5639 h 10000"/>
              <a:gd name="connsiteX42" fmla="*/ 6017 w 10000"/>
              <a:gd name="connsiteY42" fmla="*/ 5639 h 10000"/>
              <a:gd name="connsiteX43" fmla="*/ 5853 w 10000"/>
              <a:gd name="connsiteY43" fmla="*/ 5534 h 10000"/>
              <a:gd name="connsiteX44" fmla="*/ 5690 w 10000"/>
              <a:gd name="connsiteY44" fmla="*/ 5441 h 10000"/>
              <a:gd name="connsiteX45" fmla="*/ 5526 w 10000"/>
              <a:gd name="connsiteY45" fmla="*/ 5349 h 10000"/>
              <a:gd name="connsiteX46" fmla="*/ 5357 w 10000"/>
              <a:gd name="connsiteY46" fmla="*/ 5262 h 10000"/>
              <a:gd name="connsiteX47" fmla="*/ 5187 w 10000"/>
              <a:gd name="connsiteY47" fmla="*/ 5179 h 10000"/>
              <a:gd name="connsiteX48" fmla="*/ 5012 w 10000"/>
              <a:gd name="connsiteY48" fmla="*/ 5098 h 10000"/>
              <a:gd name="connsiteX49" fmla="*/ 4835 w 10000"/>
              <a:gd name="connsiteY49" fmla="*/ 5021 h 10000"/>
              <a:gd name="connsiteX50" fmla="*/ 4661 w 10000"/>
              <a:gd name="connsiteY50" fmla="*/ 4944 h 10000"/>
              <a:gd name="connsiteX51" fmla="*/ 4661 w 10000"/>
              <a:gd name="connsiteY51" fmla="*/ 4944 h 10000"/>
              <a:gd name="connsiteX52" fmla="*/ 4078 w 10000"/>
              <a:gd name="connsiteY52" fmla="*/ 4715 h 10000"/>
              <a:gd name="connsiteX53" fmla="*/ 3502 w 10000"/>
              <a:gd name="connsiteY53" fmla="*/ 4485 h 10000"/>
              <a:gd name="connsiteX54" fmla="*/ 2346 w 10000"/>
              <a:gd name="connsiteY54" fmla="*/ 4031 h 10000"/>
              <a:gd name="connsiteX55" fmla="*/ 2346 w 10000"/>
              <a:gd name="connsiteY55" fmla="*/ 4031 h 10000"/>
              <a:gd name="connsiteX56" fmla="*/ 2152 w 10000"/>
              <a:gd name="connsiteY56" fmla="*/ 3955 h 10000"/>
              <a:gd name="connsiteX57" fmla="*/ 1958 w 10000"/>
              <a:gd name="connsiteY57" fmla="*/ 3871 h 10000"/>
              <a:gd name="connsiteX58" fmla="*/ 1769 w 10000"/>
              <a:gd name="connsiteY58" fmla="*/ 3784 h 10000"/>
              <a:gd name="connsiteX59" fmla="*/ 1587 w 10000"/>
              <a:gd name="connsiteY59" fmla="*/ 3692 h 10000"/>
              <a:gd name="connsiteX60" fmla="*/ 1413 w 10000"/>
              <a:gd name="connsiteY60" fmla="*/ 3588 h 10000"/>
              <a:gd name="connsiteX61" fmla="*/ 1242 w 10000"/>
              <a:gd name="connsiteY61" fmla="*/ 3479 h 10000"/>
              <a:gd name="connsiteX62" fmla="*/ 1073 w 10000"/>
              <a:gd name="connsiteY62" fmla="*/ 3363 h 10000"/>
              <a:gd name="connsiteX63" fmla="*/ 916 w 10000"/>
              <a:gd name="connsiteY63" fmla="*/ 3238 h 10000"/>
              <a:gd name="connsiteX64" fmla="*/ 916 w 10000"/>
              <a:gd name="connsiteY64" fmla="*/ 3238 h 10000"/>
              <a:gd name="connsiteX65" fmla="*/ 794 w 10000"/>
              <a:gd name="connsiteY65" fmla="*/ 3129 h 10000"/>
              <a:gd name="connsiteX66" fmla="*/ 679 w 10000"/>
              <a:gd name="connsiteY66" fmla="*/ 3019 h 10000"/>
              <a:gd name="connsiteX67" fmla="*/ 570 w 10000"/>
              <a:gd name="connsiteY67" fmla="*/ 2903 h 10000"/>
              <a:gd name="connsiteX68" fmla="*/ 480 w 10000"/>
              <a:gd name="connsiteY68" fmla="*/ 2789 h 10000"/>
              <a:gd name="connsiteX69" fmla="*/ 388 w 10000"/>
              <a:gd name="connsiteY69" fmla="*/ 2669 h 10000"/>
              <a:gd name="connsiteX70" fmla="*/ 310 w 10000"/>
              <a:gd name="connsiteY70" fmla="*/ 2544 h 10000"/>
              <a:gd name="connsiteX71" fmla="*/ 242 w 10000"/>
              <a:gd name="connsiteY71" fmla="*/ 2417 h 10000"/>
              <a:gd name="connsiteX72" fmla="*/ 177 w 10000"/>
              <a:gd name="connsiteY72" fmla="*/ 2291 h 10000"/>
              <a:gd name="connsiteX73" fmla="*/ 128 w 10000"/>
              <a:gd name="connsiteY73" fmla="*/ 2161 h 10000"/>
              <a:gd name="connsiteX74" fmla="*/ 85 w 10000"/>
              <a:gd name="connsiteY74" fmla="*/ 2023 h 10000"/>
              <a:gd name="connsiteX75" fmla="*/ 48 w 10000"/>
              <a:gd name="connsiteY75" fmla="*/ 1881 h 10000"/>
              <a:gd name="connsiteX76" fmla="*/ 24 w 10000"/>
              <a:gd name="connsiteY76" fmla="*/ 1739 h 10000"/>
              <a:gd name="connsiteX77" fmla="*/ 7 w 10000"/>
              <a:gd name="connsiteY77" fmla="*/ 1597 h 10000"/>
              <a:gd name="connsiteX78" fmla="*/ 0 w 10000"/>
              <a:gd name="connsiteY78" fmla="*/ 1448 h 10000"/>
              <a:gd name="connsiteX79" fmla="*/ 0 w 10000"/>
              <a:gd name="connsiteY79" fmla="*/ 1296 h 10000"/>
              <a:gd name="connsiteX80" fmla="*/ 11 w 10000"/>
              <a:gd name="connsiteY80" fmla="*/ 1143 h 10000"/>
              <a:gd name="connsiteX81" fmla="*/ 11 w 10000"/>
              <a:gd name="connsiteY81" fmla="*/ 1143 h 10000"/>
              <a:gd name="connsiteX82" fmla="*/ 31 w 10000"/>
              <a:gd name="connsiteY82" fmla="*/ 1002 h 10000"/>
              <a:gd name="connsiteX83" fmla="*/ 55 w 10000"/>
              <a:gd name="connsiteY83" fmla="*/ 859 h 10000"/>
              <a:gd name="connsiteX84" fmla="*/ 92 w 10000"/>
              <a:gd name="connsiteY84" fmla="*/ 717 h 10000"/>
              <a:gd name="connsiteX85" fmla="*/ 128 w 10000"/>
              <a:gd name="connsiteY85" fmla="*/ 580 h 10000"/>
              <a:gd name="connsiteX86" fmla="*/ 177 w 10000"/>
              <a:gd name="connsiteY86" fmla="*/ 443 h 10000"/>
              <a:gd name="connsiteX87" fmla="*/ 231 w 10000"/>
              <a:gd name="connsiteY87" fmla="*/ 305 h 10000"/>
              <a:gd name="connsiteX88" fmla="*/ 286 w 10000"/>
              <a:gd name="connsiteY88" fmla="*/ 175 h 10000"/>
              <a:gd name="connsiteX89" fmla="*/ 358 w 10000"/>
              <a:gd name="connsiteY89" fmla="*/ 44 h 10000"/>
              <a:gd name="connsiteX90" fmla="*/ 358 w 10000"/>
              <a:gd name="connsiteY90" fmla="*/ 44 h 10000"/>
              <a:gd name="connsiteX91" fmla="*/ 371 w 10000"/>
              <a:gd name="connsiteY91" fmla="*/ 0 h 10000"/>
              <a:gd name="connsiteX92" fmla="*/ 371 w 10000"/>
              <a:gd name="connsiteY92" fmla="*/ 0 h 10000"/>
              <a:gd name="connsiteX0" fmla="*/ 371 w 9946"/>
              <a:gd name="connsiteY0" fmla="*/ 0 h 11520"/>
              <a:gd name="connsiteX1" fmla="*/ 371 w 9946"/>
              <a:gd name="connsiteY1" fmla="*/ 0 h 11520"/>
              <a:gd name="connsiteX2" fmla="*/ 8590 w 9946"/>
              <a:gd name="connsiteY2" fmla="*/ 0 h 11520"/>
              <a:gd name="connsiteX3" fmla="*/ 8509 w 9946"/>
              <a:gd name="connsiteY3" fmla="*/ 9905 h 11520"/>
              <a:gd name="connsiteX4" fmla="*/ 8193 w 9946"/>
              <a:gd name="connsiteY4" fmla="*/ 9692 h 11520"/>
              <a:gd name="connsiteX5" fmla="*/ 7879 w 9946"/>
              <a:gd name="connsiteY5" fmla="*/ 9472 h 11520"/>
              <a:gd name="connsiteX6" fmla="*/ 7569 w 9946"/>
              <a:gd name="connsiteY6" fmla="*/ 9249 h 11520"/>
              <a:gd name="connsiteX7" fmla="*/ 7260 w 9946"/>
              <a:gd name="connsiteY7" fmla="*/ 9024 h 11520"/>
              <a:gd name="connsiteX8" fmla="*/ 6957 w 9946"/>
              <a:gd name="connsiteY8" fmla="*/ 8789 h 11520"/>
              <a:gd name="connsiteX9" fmla="*/ 6957 w 9946"/>
              <a:gd name="connsiteY9" fmla="*/ 8789 h 11520"/>
              <a:gd name="connsiteX10" fmla="*/ 6604 w 9946"/>
              <a:gd name="connsiteY10" fmla="*/ 8521 h 11520"/>
              <a:gd name="connsiteX11" fmla="*/ 6604 w 9946"/>
              <a:gd name="connsiteY11" fmla="*/ 8521 h 11520"/>
              <a:gd name="connsiteX12" fmla="*/ 6725 w 9946"/>
              <a:gd name="connsiteY12" fmla="*/ 8312 h 11520"/>
              <a:gd name="connsiteX13" fmla="*/ 6836 w 9946"/>
              <a:gd name="connsiteY13" fmla="*/ 8106 h 11520"/>
              <a:gd name="connsiteX14" fmla="*/ 6836 w 9946"/>
              <a:gd name="connsiteY14" fmla="*/ 8106 h 11520"/>
              <a:gd name="connsiteX15" fmla="*/ 6885 w 9946"/>
              <a:gd name="connsiteY15" fmla="*/ 8007 h 11520"/>
              <a:gd name="connsiteX16" fmla="*/ 6927 w 9946"/>
              <a:gd name="connsiteY16" fmla="*/ 7904 h 11520"/>
              <a:gd name="connsiteX17" fmla="*/ 6969 w 9946"/>
              <a:gd name="connsiteY17" fmla="*/ 7800 h 11520"/>
              <a:gd name="connsiteX18" fmla="*/ 7006 w 9946"/>
              <a:gd name="connsiteY18" fmla="*/ 7695 h 11520"/>
              <a:gd name="connsiteX19" fmla="*/ 7035 w 9946"/>
              <a:gd name="connsiteY19" fmla="*/ 7585 h 11520"/>
              <a:gd name="connsiteX20" fmla="*/ 7059 w 9946"/>
              <a:gd name="connsiteY20" fmla="*/ 7482 h 11520"/>
              <a:gd name="connsiteX21" fmla="*/ 7072 w 9946"/>
              <a:gd name="connsiteY21" fmla="*/ 7373 h 11520"/>
              <a:gd name="connsiteX22" fmla="*/ 7084 w 9946"/>
              <a:gd name="connsiteY22" fmla="*/ 7258 h 11520"/>
              <a:gd name="connsiteX23" fmla="*/ 7084 w 9946"/>
              <a:gd name="connsiteY23" fmla="*/ 7258 h 11520"/>
              <a:gd name="connsiteX24" fmla="*/ 7090 w 9946"/>
              <a:gd name="connsiteY24" fmla="*/ 7132 h 11520"/>
              <a:gd name="connsiteX25" fmla="*/ 7079 w 9946"/>
              <a:gd name="connsiteY25" fmla="*/ 7006 h 11520"/>
              <a:gd name="connsiteX26" fmla="*/ 7059 w 9946"/>
              <a:gd name="connsiteY26" fmla="*/ 6885 h 11520"/>
              <a:gd name="connsiteX27" fmla="*/ 7031 w 9946"/>
              <a:gd name="connsiteY27" fmla="*/ 6766 h 11520"/>
              <a:gd name="connsiteX28" fmla="*/ 6987 w 9946"/>
              <a:gd name="connsiteY28" fmla="*/ 6651 h 11520"/>
              <a:gd name="connsiteX29" fmla="*/ 6934 w 9946"/>
              <a:gd name="connsiteY29" fmla="*/ 6537 h 11520"/>
              <a:gd name="connsiteX30" fmla="*/ 6865 w 9946"/>
              <a:gd name="connsiteY30" fmla="*/ 6425 h 11520"/>
              <a:gd name="connsiteX31" fmla="*/ 6793 w 9946"/>
              <a:gd name="connsiteY31" fmla="*/ 6317 h 11520"/>
              <a:gd name="connsiteX32" fmla="*/ 6793 w 9946"/>
              <a:gd name="connsiteY32" fmla="*/ 6317 h 11520"/>
              <a:gd name="connsiteX33" fmla="*/ 6714 w 9946"/>
              <a:gd name="connsiteY33" fmla="*/ 6219 h 11520"/>
              <a:gd name="connsiteX34" fmla="*/ 6629 w 9946"/>
              <a:gd name="connsiteY34" fmla="*/ 6120 h 11520"/>
              <a:gd name="connsiteX35" fmla="*/ 6539 w 9946"/>
              <a:gd name="connsiteY35" fmla="*/ 6033 h 11520"/>
              <a:gd name="connsiteX36" fmla="*/ 6442 w 9946"/>
              <a:gd name="connsiteY36" fmla="*/ 5945 h 11520"/>
              <a:gd name="connsiteX37" fmla="*/ 6338 w 9946"/>
              <a:gd name="connsiteY37" fmla="*/ 5862 h 11520"/>
              <a:gd name="connsiteX38" fmla="*/ 6236 w 9946"/>
              <a:gd name="connsiteY38" fmla="*/ 5785 h 11520"/>
              <a:gd name="connsiteX39" fmla="*/ 6126 w 9946"/>
              <a:gd name="connsiteY39" fmla="*/ 5710 h 11520"/>
              <a:gd name="connsiteX40" fmla="*/ 6017 w 9946"/>
              <a:gd name="connsiteY40" fmla="*/ 5639 h 11520"/>
              <a:gd name="connsiteX41" fmla="*/ 6017 w 9946"/>
              <a:gd name="connsiteY41" fmla="*/ 5639 h 11520"/>
              <a:gd name="connsiteX42" fmla="*/ 5853 w 9946"/>
              <a:gd name="connsiteY42" fmla="*/ 5534 h 11520"/>
              <a:gd name="connsiteX43" fmla="*/ 5690 w 9946"/>
              <a:gd name="connsiteY43" fmla="*/ 5441 h 11520"/>
              <a:gd name="connsiteX44" fmla="*/ 5526 w 9946"/>
              <a:gd name="connsiteY44" fmla="*/ 5349 h 11520"/>
              <a:gd name="connsiteX45" fmla="*/ 5357 w 9946"/>
              <a:gd name="connsiteY45" fmla="*/ 5262 h 11520"/>
              <a:gd name="connsiteX46" fmla="*/ 5187 w 9946"/>
              <a:gd name="connsiteY46" fmla="*/ 5179 h 11520"/>
              <a:gd name="connsiteX47" fmla="*/ 5012 w 9946"/>
              <a:gd name="connsiteY47" fmla="*/ 5098 h 11520"/>
              <a:gd name="connsiteX48" fmla="*/ 4835 w 9946"/>
              <a:gd name="connsiteY48" fmla="*/ 5021 h 11520"/>
              <a:gd name="connsiteX49" fmla="*/ 4661 w 9946"/>
              <a:gd name="connsiteY49" fmla="*/ 4944 h 11520"/>
              <a:gd name="connsiteX50" fmla="*/ 4661 w 9946"/>
              <a:gd name="connsiteY50" fmla="*/ 4944 h 11520"/>
              <a:gd name="connsiteX51" fmla="*/ 4078 w 9946"/>
              <a:gd name="connsiteY51" fmla="*/ 4715 h 11520"/>
              <a:gd name="connsiteX52" fmla="*/ 3502 w 9946"/>
              <a:gd name="connsiteY52" fmla="*/ 4485 h 11520"/>
              <a:gd name="connsiteX53" fmla="*/ 2346 w 9946"/>
              <a:gd name="connsiteY53" fmla="*/ 4031 h 11520"/>
              <a:gd name="connsiteX54" fmla="*/ 2346 w 9946"/>
              <a:gd name="connsiteY54" fmla="*/ 4031 h 11520"/>
              <a:gd name="connsiteX55" fmla="*/ 2152 w 9946"/>
              <a:gd name="connsiteY55" fmla="*/ 3955 h 11520"/>
              <a:gd name="connsiteX56" fmla="*/ 1958 w 9946"/>
              <a:gd name="connsiteY56" fmla="*/ 3871 h 11520"/>
              <a:gd name="connsiteX57" fmla="*/ 1769 w 9946"/>
              <a:gd name="connsiteY57" fmla="*/ 3784 h 11520"/>
              <a:gd name="connsiteX58" fmla="*/ 1587 w 9946"/>
              <a:gd name="connsiteY58" fmla="*/ 3692 h 11520"/>
              <a:gd name="connsiteX59" fmla="*/ 1413 w 9946"/>
              <a:gd name="connsiteY59" fmla="*/ 3588 h 11520"/>
              <a:gd name="connsiteX60" fmla="*/ 1242 w 9946"/>
              <a:gd name="connsiteY60" fmla="*/ 3479 h 11520"/>
              <a:gd name="connsiteX61" fmla="*/ 1073 w 9946"/>
              <a:gd name="connsiteY61" fmla="*/ 3363 h 11520"/>
              <a:gd name="connsiteX62" fmla="*/ 916 w 9946"/>
              <a:gd name="connsiteY62" fmla="*/ 3238 h 11520"/>
              <a:gd name="connsiteX63" fmla="*/ 916 w 9946"/>
              <a:gd name="connsiteY63" fmla="*/ 3238 h 11520"/>
              <a:gd name="connsiteX64" fmla="*/ 794 w 9946"/>
              <a:gd name="connsiteY64" fmla="*/ 3129 h 11520"/>
              <a:gd name="connsiteX65" fmla="*/ 679 w 9946"/>
              <a:gd name="connsiteY65" fmla="*/ 3019 h 11520"/>
              <a:gd name="connsiteX66" fmla="*/ 570 w 9946"/>
              <a:gd name="connsiteY66" fmla="*/ 2903 h 11520"/>
              <a:gd name="connsiteX67" fmla="*/ 480 w 9946"/>
              <a:gd name="connsiteY67" fmla="*/ 2789 h 11520"/>
              <a:gd name="connsiteX68" fmla="*/ 388 w 9946"/>
              <a:gd name="connsiteY68" fmla="*/ 2669 h 11520"/>
              <a:gd name="connsiteX69" fmla="*/ 310 w 9946"/>
              <a:gd name="connsiteY69" fmla="*/ 2544 h 11520"/>
              <a:gd name="connsiteX70" fmla="*/ 242 w 9946"/>
              <a:gd name="connsiteY70" fmla="*/ 2417 h 11520"/>
              <a:gd name="connsiteX71" fmla="*/ 177 w 9946"/>
              <a:gd name="connsiteY71" fmla="*/ 2291 h 11520"/>
              <a:gd name="connsiteX72" fmla="*/ 128 w 9946"/>
              <a:gd name="connsiteY72" fmla="*/ 2161 h 11520"/>
              <a:gd name="connsiteX73" fmla="*/ 85 w 9946"/>
              <a:gd name="connsiteY73" fmla="*/ 2023 h 11520"/>
              <a:gd name="connsiteX74" fmla="*/ 48 w 9946"/>
              <a:gd name="connsiteY74" fmla="*/ 1881 h 11520"/>
              <a:gd name="connsiteX75" fmla="*/ 24 w 9946"/>
              <a:gd name="connsiteY75" fmla="*/ 1739 h 11520"/>
              <a:gd name="connsiteX76" fmla="*/ 7 w 9946"/>
              <a:gd name="connsiteY76" fmla="*/ 1597 h 11520"/>
              <a:gd name="connsiteX77" fmla="*/ 0 w 9946"/>
              <a:gd name="connsiteY77" fmla="*/ 1448 h 11520"/>
              <a:gd name="connsiteX78" fmla="*/ 0 w 9946"/>
              <a:gd name="connsiteY78" fmla="*/ 1296 h 11520"/>
              <a:gd name="connsiteX79" fmla="*/ 11 w 9946"/>
              <a:gd name="connsiteY79" fmla="*/ 1143 h 11520"/>
              <a:gd name="connsiteX80" fmla="*/ 11 w 9946"/>
              <a:gd name="connsiteY80" fmla="*/ 1143 h 11520"/>
              <a:gd name="connsiteX81" fmla="*/ 31 w 9946"/>
              <a:gd name="connsiteY81" fmla="*/ 1002 h 11520"/>
              <a:gd name="connsiteX82" fmla="*/ 55 w 9946"/>
              <a:gd name="connsiteY82" fmla="*/ 859 h 11520"/>
              <a:gd name="connsiteX83" fmla="*/ 92 w 9946"/>
              <a:gd name="connsiteY83" fmla="*/ 717 h 11520"/>
              <a:gd name="connsiteX84" fmla="*/ 128 w 9946"/>
              <a:gd name="connsiteY84" fmla="*/ 580 h 11520"/>
              <a:gd name="connsiteX85" fmla="*/ 177 w 9946"/>
              <a:gd name="connsiteY85" fmla="*/ 443 h 11520"/>
              <a:gd name="connsiteX86" fmla="*/ 231 w 9946"/>
              <a:gd name="connsiteY86" fmla="*/ 305 h 11520"/>
              <a:gd name="connsiteX87" fmla="*/ 286 w 9946"/>
              <a:gd name="connsiteY87" fmla="*/ 175 h 11520"/>
              <a:gd name="connsiteX88" fmla="*/ 358 w 9946"/>
              <a:gd name="connsiteY88" fmla="*/ 44 h 11520"/>
              <a:gd name="connsiteX89" fmla="*/ 358 w 9946"/>
              <a:gd name="connsiteY89" fmla="*/ 44 h 11520"/>
              <a:gd name="connsiteX90" fmla="*/ 371 w 9946"/>
              <a:gd name="connsiteY90" fmla="*/ 0 h 11520"/>
              <a:gd name="connsiteX91" fmla="*/ 371 w 9946"/>
              <a:gd name="connsiteY91" fmla="*/ 0 h 11520"/>
              <a:gd name="connsiteX0" fmla="*/ 373 w 8622"/>
              <a:gd name="connsiteY0" fmla="*/ 0 h 10000"/>
              <a:gd name="connsiteX1" fmla="*/ 373 w 8622"/>
              <a:gd name="connsiteY1" fmla="*/ 0 h 10000"/>
              <a:gd name="connsiteX2" fmla="*/ 7185 w 8622"/>
              <a:gd name="connsiteY2" fmla="*/ 0 h 10000"/>
              <a:gd name="connsiteX3" fmla="*/ 8555 w 8622"/>
              <a:gd name="connsiteY3" fmla="*/ 8598 h 10000"/>
              <a:gd name="connsiteX4" fmla="*/ 8237 w 8622"/>
              <a:gd name="connsiteY4" fmla="*/ 8413 h 10000"/>
              <a:gd name="connsiteX5" fmla="*/ 7922 w 8622"/>
              <a:gd name="connsiteY5" fmla="*/ 8222 h 10000"/>
              <a:gd name="connsiteX6" fmla="*/ 7610 w 8622"/>
              <a:gd name="connsiteY6" fmla="*/ 8029 h 10000"/>
              <a:gd name="connsiteX7" fmla="*/ 7299 w 8622"/>
              <a:gd name="connsiteY7" fmla="*/ 7833 h 10000"/>
              <a:gd name="connsiteX8" fmla="*/ 6995 w 8622"/>
              <a:gd name="connsiteY8" fmla="*/ 7629 h 10000"/>
              <a:gd name="connsiteX9" fmla="*/ 6995 w 8622"/>
              <a:gd name="connsiteY9" fmla="*/ 7629 h 10000"/>
              <a:gd name="connsiteX10" fmla="*/ 6640 w 8622"/>
              <a:gd name="connsiteY10" fmla="*/ 7397 h 10000"/>
              <a:gd name="connsiteX11" fmla="*/ 6640 w 8622"/>
              <a:gd name="connsiteY11" fmla="*/ 7397 h 10000"/>
              <a:gd name="connsiteX12" fmla="*/ 6762 w 8622"/>
              <a:gd name="connsiteY12" fmla="*/ 7215 h 10000"/>
              <a:gd name="connsiteX13" fmla="*/ 6873 w 8622"/>
              <a:gd name="connsiteY13" fmla="*/ 7036 h 10000"/>
              <a:gd name="connsiteX14" fmla="*/ 6873 w 8622"/>
              <a:gd name="connsiteY14" fmla="*/ 7036 h 10000"/>
              <a:gd name="connsiteX15" fmla="*/ 6922 w 8622"/>
              <a:gd name="connsiteY15" fmla="*/ 6951 h 10000"/>
              <a:gd name="connsiteX16" fmla="*/ 6965 w 8622"/>
              <a:gd name="connsiteY16" fmla="*/ 6861 h 10000"/>
              <a:gd name="connsiteX17" fmla="*/ 7007 w 8622"/>
              <a:gd name="connsiteY17" fmla="*/ 6771 h 10000"/>
              <a:gd name="connsiteX18" fmla="*/ 7044 w 8622"/>
              <a:gd name="connsiteY18" fmla="*/ 6680 h 10000"/>
              <a:gd name="connsiteX19" fmla="*/ 7073 w 8622"/>
              <a:gd name="connsiteY19" fmla="*/ 6584 h 10000"/>
              <a:gd name="connsiteX20" fmla="*/ 7097 w 8622"/>
              <a:gd name="connsiteY20" fmla="*/ 6495 h 10000"/>
              <a:gd name="connsiteX21" fmla="*/ 7110 w 8622"/>
              <a:gd name="connsiteY21" fmla="*/ 6400 h 10000"/>
              <a:gd name="connsiteX22" fmla="*/ 7122 w 8622"/>
              <a:gd name="connsiteY22" fmla="*/ 6300 h 10000"/>
              <a:gd name="connsiteX23" fmla="*/ 7122 w 8622"/>
              <a:gd name="connsiteY23" fmla="*/ 6300 h 10000"/>
              <a:gd name="connsiteX24" fmla="*/ 7128 w 8622"/>
              <a:gd name="connsiteY24" fmla="*/ 6191 h 10000"/>
              <a:gd name="connsiteX25" fmla="*/ 7117 w 8622"/>
              <a:gd name="connsiteY25" fmla="*/ 6082 h 10000"/>
              <a:gd name="connsiteX26" fmla="*/ 7097 w 8622"/>
              <a:gd name="connsiteY26" fmla="*/ 5977 h 10000"/>
              <a:gd name="connsiteX27" fmla="*/ 7069 w 8622"/>
              <a:gd name="connsiteY27" fmla="*/ 5873 h 10000"/>
              <a:gd name="connsiteX28" fmla="*/ 7025 w 8622"/>
              <a:gd name="connsiteY28" fmla="*/ 5773 h 10000"/>
              <a:gd name="connsiteX29" fmla="*/ 6972 w 8622"/>
              <a:gd name="connsiteY29" fmla="*/ 5674 h 10000"/>
              <a:gd name="connsiteX30" fmla="*/ 6902 w 8622"/>
              <a:gd name="connsiteY30" fmla="*/ 5577 h 10000"/>
              <a:gd name="connsiteX31" fmla="*/ 6830 w 8622"/>
              <a:gd name="connsiteY31" fmla="*/ 5484 h 10000"/>
              <a:gd name="connsiteX32" fmla="*/ 6830 w 8622"/>
              <a:gd name="connsiteY32" fmla="*/ 5484 h 10000"/>
              <a:gd name="connsiteX33" fmla="*/ 6750 w 8622"/>
              <a:gd name="connsiteY33" fmla="*/ 5398 h 10000"/>
              <a:gd name="connsiteX34" fmla="*/ 6665 w 8622"/>
              <a:gd name="connsiteY34" fmla="*/ 5313 h 10000"/>
              <a:gd name="connsiteX35" fmla="*/ 6575 w 8622"/>
              <a:gd name="connsiteY35" fmla="*/ 5237 h 10000"/>
              <a:gd name="connsiteX36" fmla="*/ 6477 w 8622"/>
              <a:gd name="connsiteY36" fmla="*/ 5161 h 10000"/>
              <a:gd name="connsiteX37" fmla="*/ 6372 w 8622"/>
              <a:gd name="connsiteY37" fmla="*/ 5089 h 10000"/>
              <a:gd name="connsiteX38" fmla="*/ 6270 w 8622"/>
              <a:gd name="connsiteY38" fmla="*/ 5022 h 10000"/>
              <a:gd name="connsiteX39" fmla="*/ 6159 w 8622"/>
              <a:gd name="connsiteY39" fmla="*/ 4957 h 10000"/>
              <a:gd name="connsiteX40" fmla="*/ 6050 w 8622"/>
              <a:gd name="connsiteY40" fmla="*/ 4895 h 10000"/>
              <a:gd name="connsiteX41" fmla="*/ 6050 w 8622"/>
              <a:gd name="connsiteY41" fmla="*/ 4895 h 10000"/>
              <a:gd name="connsiteX42" fmla="*/ 5885 w 8622"/>
              <a:gd name="connsiteY42" fmla="*/ 4804 h 10000"/>
              <a:gd name="connsiteX43" fmla="*/ 5721 w 8622"/>
              <a:gd name="connsiteY43" fmla="*/ 4723 h 10000"/>
              <a:gd name="connsiteX44" fmla="*/ 5556 w 8622"/>
              <a:gd name="connsiteY44" fmla="*/ 4643 h 10000"/>
              <a:gd name="connsiteX45" fmla="*/ 5386 w 8622"/>
              <a:gd name="connsiteY45" fmla="*/ 4568 h 10000"/>
              <a:gd name="connsiteX46" fmla="*/ 5215 w 8622"/>
              <a:gd name="connsiteY46" fmla="*/ 4496 h 10000"/>
              <a:gd name="connsiteX47" fmla="*/ 5039 w 8622"/>
              <a:gd name="connsiteY47" fmla="*/ 4425 h 10000"/>
              <a:gd name="connsiteX48" fmla="*/ 4861 w 8622"/>
              <a:gd name="connsiteY48" fmla="*/ 4359 h 10000"/>
              <a:gd name="connsiteX49" fmla="*/ 4686 w 8622"/>
              <a:gd name="connsiteY49" fmla="*/ 4292 h 10000"/>
              <a:gd name="connsiteX50" fmla="*/ 4686 w 8622"/>
              <a:gd name="connsiteY50" fmla="*/ 4292 h 10000"/>
              <a:gd name="connsiteX51" fmla="*/ 4100 w 8622"/>
              <a:gd name="connsiteY51" fmla="*/ 4093 h 10000"/>
              <a:gd name="connsiteX52" fmla="*/ 3521 w 8622"/>
              <a:gd name="connsiteY52" fmla="*/ 3893 h 10000"/>
              <a:gd name="connsiteX53" fmla="*/ 2359 w 8622"/>
              <a:gd name="connsiteY53" fmla="*/ 3499 h 10000"/>
              <a:gd name="connsiteX54" fmla="*/ 2359 w 8622"/>
              <a:gd name="connsiteY54" fmla="*/ 3499 h 10000"/>
              <a:gd name="connsiteX55" fmla="*/ 2164 w 8622"/>
              <a:gd name="connsiteY55" fmla="*/ 3433 h 10000"/>
              <a:gd name="connsiteX56" fmla="*/ 1969 w 8622"/>
              <a:gd name="connsiteY56" fmla="*/ 3360 h 10000"/>
              <a:gd name="connsiteX57" fmla="*/ 1779 w 8622"/>
              <a:gd name="connsiteY57" fmla="*/ 3285 h 10000"/>
              <a:gd name="connsiteX58" fmla="*/ 1596 w 8622"/>
              <a:gd name="connsiteY58" fmla="*/ 3205 h 10000"/>
              <a:gd name="connsiteX59" fmla="*/ 1421 w 8622"/>
              <a:gd name="connsiteY59" fmla="*/ 3115 h 10000"/>
              <a:gd name="connsiteX60" fmla="*/ 1249 w 8622"/>
              <a:gd name="connsiteY60" fmla="*/ 3020 h 10000"/>
              <a:gd name="connsiteX61" fmla="*/ 1079 w 8622"/>
              <a:gd name="connsiteY61" fmla="*/ 2919 h 10000"/>
              <a:gd name="connsiteX62" fmla="*/ 921 w 8622"/>
              <a:gd name="connsiteY62" fmla="*/ 2811 h 10000"/>
              <a:gd name="connsiteX63" fmla="*/ 921 w 8622"/>
              <a:gd name="connsiteY63" fmla="*/ 2811 h 10000"/>
              <a:gd name="connsiteX64" fmla="*/ 798 w 8622"/>
              <a:gd name="connsiteY64" fmla="*/ 2716 h 10000"/>
              <a:gd name="connsiteX65" fmla="*/ 683 w 8622"/>
              <a:gd name="connsiteY65" fmla="*/ 2621 h 10000"/>
              <a:gd name="connsiteX66" fmla="*/ 573 w 8622"/>
              <a:gd name="connsiteY66" fmla="*/ 2520 h 10000"/>
              <a:gd name="connsiteX67" fmla="*/ 483 w 8622"/>
              <a:gd name="connsiteY67" fmla="*/ 2421 h 10000"/>
              <a:gd name="connsiteX68" fmla="*/ 390 w 8622"/>
              <a:gd name="connsiteY68" fmla="*/ 2317 h 10000"/>
              <a:gd name="connsiteX69" fmla="*/ 312 w 8622"/>
              <a:gd name="connsiteY69" fmla="*/ 2208 h 10000"/>
              <a:gd name="connsiteX70" fmla="*/ 243 w 8622"/>
              <a:gd name="connsiteY70" fmla="*/ 2098 h 10000"/>
              <a:gd name="connsiteX71" fmla="*/ 178 w 8622"/>
              <a:gd name="connsiteY71" fmla="*/ 1989 h 10000"/>
              <a:gd name="connsiteX72" fmla="*/ 129 w 8622"/>
              <a:gd name="connsiteY72" fmla="*/ 1876 h 10000"/>
              <a:gd name="connsiteX73" fmla="*/ 85 w 8622"/>
              <a:gd name="connsiteY73" fmla="*/ 1756 h 10000"/>
              <a:gd name="connsiteX74" fmla="*/ 48 w 8622"/>
              <a:gd name="connsiteY74" fmla="*/ 1633 h 10000"/>
              <a:gd name="connsiteX75" fmla="*/ 24 w 8622"/>
              <a:gd name="connsiteY75" fmla="*/ 1510 h 10000"/>
              <a:gd name="connsiteX76" fmla="*/ 7 w 8622"/>
              <a:gd name="connsiteY76" fmla="*/ 1386 h 10000"/>
              <a:gd name="connsiteX77" fmla="*/ 0 w 8622"/>
              <a:gd name="connsiteY77" fmla="*/ 1257 h 10000"/>
              <a:gd name="connsiteX78" fmla="*/ 0 w 8622"/>
              <a:gd name="connsiteY78" fmla="*/ 1125 h 10000"/>
              <a:gd name="connsiteX79" fmla="*/ 11 w 8622"/>
              <a:gd name="connsiteY79" fmla="*/ 992 h 10000"/>
              <a:gd name="connsiteX80" fmla="*/ 11 w 8622"/>
              <a:gd name="connsiteY80" fmla="*/ 992 h 10000"/>
              <a:gd name="connsiteX81" fmla="*/ 31 w 8622"/>
              <a:gd name="connsiteY81" fmla="*/ 870 h 10000"/>
              <a:gd name="connsiteX82" fmla="*/ 55 w 8622"/>
              <a:gd name="connsiteY82" fmla="*/ 746 h 10000"/>
              <a:gd name="connsiteX83" fmla="*/ 92 w 8622"/>
              <a:gd name="connsiteY83" fmla="*/ 622 h 10000"/>
              <a:gd name="connsiteX84" fmla="*/ 129 w 8622"/>
              <a:gd name="connsiteY84" fmla="*/ 503 h 10000"/>
              <a:gd name="connsiteX85" fmla="*/ 178 w 8622"/>
              <a:gd name="connsiteY85" fmla="*/ 385 h 10000"/>
              <a:gd name="connsiteX86" fmla="*/ 232 w 8622"/>
              <a:gd name="connsiteY86" fmla="*/ 265 h 10000"/>
              <a:gd name="connsiteX87" fmla="*/ 288 w 8622"/>
              <a:gd name="connsiteY87" fmla="*/ 152 h 10000"/>
              <a:gd name="connsiteX88" fmla="*/ 360 w 8622"/>
              <a:gd name="connsiteY88" fmla="*/ 38 h 10000"/>
              <a:gd name="connsiteX89" fmla="*/ 360 w 8622"/>
              <a:gd name="connsiteY89" fmla="*/ 38 h 10000"/>
              <a:gd name="connsiteX90" fmla="*/ 373 w 8622"/>
              <a:gd name="connsiteY90" fmla="*/ 0 h 10000"/>
              <a:gd name="connsiteX91" fmla="*/ 373 w 8622"/>
              <a:gd name="connsiteY91" fmla="*/ 0 h 10000"/>
              <a:gd name="connsiteX0" fmla="*/ 433 w 11598"/>
              <a:gd name="connsiteY0" fmla="*/ 0 h 10000"/>
              <a:gd name="connsiteX1" fmla="*/ 433 w 11598"/>
              <a:gd name="connsiteY1" fmla="*/ 0 h 10000"/>
              <a:gd name="connsiteX2" fmla="*/ 10017 w 11598"/>
              <a:gd name="connsiteY2" fmla="*/ 0 h 10000"/>
              <a:gd name="connsiteX3" fmla="*/ 9922 w 11598"/>
              <a:gd name="connsiteY3" fmla="*/ 8598 h 10000"/>
              <a:gd name="connsiteX4" fmla="*/ 9553 w 11598"/>
              <a:gd name="connsiteY4" fmla="*/ 8413 h 10000"/>
              <a:gd name="connsiteX5" fmla="*/ 9188 w 11598"/>
              <a:gd name="connsiteY5" fmla="*/ 8222 h 10000"/>
              <a:gd name="connsiteX6" fmla="*/ 8826 w 11598"/>
              <a:gd name="connsiteY6" fmla="*/ 8029 h 10000"/>
              <a:gd name="connsiteX7" fmla="*/ 8466 w 11598"/>
              <a:gd name="connsiteY7" fmla="*/ 7833 h 10000"/>
              <a:gd name="connsiteX8" fmla="*/ 8113 w 11598"/>
              <a:gd name="connsiteY8" fmla="*/ 7629 h 10000"/>
              <a:gd name="connsiteX9" fmla="*/ 8113 w 11598"/>
              <a:gd name="connsiteY9" fmla="*/ 7629 h 10000"/>
              <a:gd name="connsiteX10" fmla="*/ 7701 w 11598"/>
              <a:gd name="connsiteY10" fmla="*/ 7397 h 10000"/>
              <a:gd name="connsiteX11" fmla="*/ 7701 w 11598"/>
              <a:gd name="connsiteY11" fmla="*/ 7397 h 10000"/>
              <a:gd name="connsiteX12" fmla="*/ 7843 w 11598"/>
              <a:gd name="connsiteY12" fmla="*/ 7215 h 10000"/>
              <a:gd name="connsiteX13" fmla="*/ 7971 w 11598"/>
              <a:gd name="connsiteY13" fmla="*/ 7036 h 10000"/>
              <a:gd name="connsiteX14" fmla="*/ 7971 w 11598"/>
              <a:gd name="connsiteY14" fmla="*/ 7036 h 10000"/>
              <a:gd name="connsiteX15" fmla="*/ 8028 w 11598"/>
              <a:gd name="connsiteY15" fmla="*/ 6951 h 10000"/>
              <a:gd name="connsiteX16" fmla="*/ 8078 w 11598"/>
              <a:gd name="connsiteY16" fmla="*/ 6861 h 10000"/>
              <a:gd name="connsiteX17" fmla="*/ 8127 w 11598"/>
              <a:gd name="connsiteY17" fmla="*/ 6771 h 10000"/>
              <a:gd name="connsiteX18" fmla="*/ 8170 w 11598"/>
              <a:gd name="connsiteY18" fmla="*/ 6680 h 10000"/>
              <a:gd name="connsiteX19" fmla="*/ 8203 w 11598"/>
              <a:gd name="connsiteY19" fmla="*/ 6584 h 10000"/>
              <a:gd name="connsiteX20" fmla="*/ 8231 w 11598"/>
              <a:gd name="connsiteY20" fmla="*/ 6495 h 10000"/>
              <a:gd name="connsiteX21" fmla="*/ 8246 w 11598"/>
              <a:gd name="connsiteY21" fmla="*/ 6400 h 10000"/>
              <a:gd name="connsiteX22" fmla="*/ 8260 w 11598"/>
              <a:gd name="connsiteY22" fmla="*/ 6300 h 10000"/>
              <a:gd name="connsiteX23" fmla="*/ 8260 w 11598"/>
              <a:gd name="connsiteY23" fmla="*/ 6300 h 10000"/>
              <a:gd name="connsiteX24" fmla="*/ 8267 w 11598"/>
              <a:gd name="connsiteY24" fmla="*/ 6191 h 10000"/>
              <a:gd name="connsiteX25" fmla="*/ 8254 w 11598"/>
              <a:gd name="connsiteY25" fmla="*/ 6082 h 10000"/>
              <a:gd name="connsiteX26" fmla="*/ 8231 w 11598"/>
              <a:gd name="connsiteY26" fmla="*/ 5977 h 10000"/>
              <a:gd name="connsiteX27" fmla="*/ 8199 w 11598"/>
              <a:gd name="connsiteY27" fmla="*/ 5873 h 10000"/>
              <a:gd name="connsiteX28" fmla="*/ 8148 w 11598"/>
              <a:gd name="connsiteY28" fmla="*/ 5773 h 10000"/>
              <a:gd name="connsiteX29" fmla="*/ 8086 w 11598"/>
              <a:gd name="connsiteY29" fmla="*/ 5674 h 10000"/>
              <a:gd name="connsiteX30" fmla="*/ 8005 w 11598"/>
              <a:gd name="connsiteY30" fmla="*/ 5577 h 10000"/>
              <a:gd name="connsiteX31" fmla="*/ 7922 w 11598"/>
              <a:gd name="connsiteY31" fmla="*/ 5484 h 10000"/>
              <a:gd name="connsiteX32" fmla="*/ 7922 w 11598"/>
              <a:gd name="connsiteY32" fmla="*/ 5484 h 10000"/>
              <a:gd name="connsiteX33" fmla="*/ 7829 w 11598"/>
              <a:gd name="connsiteY33" fmla="*/ 5398 h 10000"/>
              <a:gd name="connsiteX34" fmla="*/ 7730 w 11598"/>
              <a:gd name="connsiteY34" fmla="*/ 5313 h 10000"/>
              <a:gd name="connsiteX35" fmla="*/ 7626 w 11598"/>
              <a:gd name="connsiteY35" fmla="*/ 5237 h 10000"/>
              <a:gd name="connsiteX36" fmla="*/ 7512 w 11598"/>
              <a:gd name="connsiteY36" fmla="*/ 5161 h 10000"/>
              <a:gd name="connsiteX37" fmla="*/ 7390 w 11598"/>
              <a:gd name="connsiteY37" fmla="*/ 5089 h 10000"/>
              <a:gd name="connsiteX38" fmla="*/ 7272 w 11598"/>
              <a:gd name="connsiteY38" fmla="*/ 5022 h 10000"/>
              <a:gd name="connsiteX39" fmla="*/ 7143 w 11598"/>
              <a:gd name="connsiteY39" fmla="*/ 4957 h 10000"/>
              <a:gd name="connsiteX40" fmla="*/ 7017 w 11598"/>
              <a:gd name="connsiteY40" fmla="*/ 4895 h 10000"/>
              <a:gd name="connsiteX41" fmla="*/ 7017 w 11598"/>
              <a:gd name="connsiteY41" fmla="*/ 4895 h 10000"/>
              <a:gd name="connsiteX42" fmla="*/ 6826 w 11598"/>
              <a:gd name="connsiteY42" fmla="*/ 4804 h 10000"/>
              <a:gd name="connsiteX43" fmla="*/ 6635 w 11598"/>
              <a:gd name="connsiteY43" fmla="*/ 4723 h 10000"/>
              <a:gd name="connsiteX44" fmla="*/ 6444 w 11598"/>
              <a:gd name="connsiteY44" fmla="*/ 4643 h 10000"/>
              <a:gd name="connsiteX45" fmla="*/ 6247 w 11598"/>
              <a:gd name="connsiteY45" fmla="*/ 4568 h 10000"/>
              <a:gd name="connsiteX46" fmla="*/ 6048 w 11598"/>
              <a:gd name="connsiteY46" fmla="*/ 4496 h 10000"/>
              <a:gd name="connsiteX47" fmla="*/ 5844 w 11598"/>
              <a:gd name="connsiteY47" fmla="*/ 4425 h 10000"/>
              <a:gd name="connsiteX48" fmla="*/ 5638 w 11598"/>
              <a:gd name="connsiteY48" fmla="*/ 4359 h 10000"/>
              <a:gd name="connsiteX49" fmla="*/ 5435 w 11598"/>
              <a:gd name="connsiteY49" fmla="*/ 4292 h 10000"/>
              <a:gd name="connsiteX50" fmla="*/ 5435 w 11598"/>
              <a:gd name="connsiteY50" fmla="*/ 4292 h 10000"/>
              <a:gd name="connsiteX51" fmla="*/ 4755 w 11598"/>
              <a:gd name="connsiteY51" fmla="*/ 4093 h 10000"/>
              <a:gd name="connsiteX52" fmla="*/ 4084 w 11598"/>
              <a:gd name="connsiteY52" fmla="*/ 3893 h 10000"/>
              <a:gd name="connsiteX53" fmla="*/ 2736 w 11598"/>
              <a:gd name="connsiteY53" fmla="*/ 3499 h 10000"/>
              <a:gd name="connsiteX54" fmla="*/ 2736 w 11598"/>
              <a:gd name="connsiteY54" fmla="*/ 3499 h 10000"/>
              <a:gd name="connsiteX55" fmla="*/ 2510 w 11598"/>
              <a:gd name="connsiteY55" fmla="*/ 3433 h 10000"/>
              <a:gd name="connsiteX56" fmla="*/ 2284 w 11598"/>
              <a:gd name="connsiteY56" fmla="*/ 3360 h 10000"/>
              <a:gd name="connsiteX57" fmla="*/ 2063 w 11598"/>
              <a:gd name="connsiteY57" fmla="*/ 3285 h 10000"/>
              <a:gd name="connsiteX58" fmla="*/ 1851 w 11598"/>
              <a:gd name="connsiteY58" fmla="*/ 3205 h 10000"/>
              <a:gd name="connsiteX59" fmla="*/ 1648 w 11598"/>
              <a:gd name="connsiteY59" fmla="*/ 3115 h 10000"/>
              <a:gd name="connsiteX60" fmla="*/ 1449 w 11598"/>
              <a:gd name="connsiteY60" fmla="*/ 3020 h 10000"/>
              <a:gd name="connsiteX61" fmla="*/ 1251 w 11598"/>
              <a:gd name="connsiteY61" fmla="*/ 2919 h 10000"/>
              <a:gd name="connsiteX62" fmla="*/ 1068 w 11598"/>
              <a:gd name="connsiteY62" fmla="*/ 2811 h 10000"/>
              <a:gd name="connsiteX63" fmla="*/ 1068 w 11598"/>
              <a:gd name="connsiteY63" fmla="*/ 2811 h 10000"/>
              <a:gd name="connsiteX64" fmla="*/ 926 w 11598"/>
              <a:gd name="connsiteY64" fmla="*/ 2716 h 10000"/>
              <a:gd name="connsiteX65" fmla="*/ 792 w 11598"/>
              <a:gd name="connsiteY65" fmla="*/ 2621 h 10000"/>
              <a:gd name="connsiteX66" fmla="*/ 665 w 11598"/>
              <a:gd name="connsiteY66" fmla="*/ 2520 h 10000"/>
              <a:gd name="connsiteX67" fmla="*/ 560 w 11598"/>
              <a:gd name="connsiteY67" fmla="*/ 2421 h 10000"/>
              <a:gd name="connsiteX68" fmla="*/ 452 w 11598"/>
              <a:gd name="connsiteY68" fmla="*/ 2317 h 10000"/>
              <a:gd name="connsiteX69" fmla="*/ 362 w 11598"/>
              <a:gd name="connsiteY69" fmla="*/ 2208 h 10000"/>
              <a:gd name="connsiteX70" fmla="*/ 282 w 11598"/>
              <a:gd name="connsiteY70" fmla="*/ 2098 h 10000"/>
              <a:gd name="connsiteX71" fmla="*/ 206 w 11598"/>
              <a:gd name="connsiteY71" fmla="*/ 1989 h 10000"/>
              <a:gd name="connsiteX72" fmla="*/ 150 w 11598"/>
              <a:gd name="connsiteY72" fmla="*/ 1876 h 10000"/>
              <a:gd name="connsiteX73" fmla="*/ 99 w 11598"/>
              <a:gd name="connsiteY73" fmla="*/ 1756 h 10000"/>
              <a:gd name="connsiteX74" fmla="*/ 56 w 11598"/>
              <a:gd name="connsiteY74" fmla="*/ 1633 h 10000"/>
              <a:gd name="connsiteX75" fmla="*/ 28 w 11598"/>
              <a:gd name="connsiteY75" fmla="*/ 1510 h 10000"/>
              <a:gd name="connsiteX76" fmla="*/ 8 w 11598"/>
              <a:gd name="connsiteY76" fmla="*/ 1386 h 10000"/>
              <a:gd name="connsiteX77" fmla="*/ 0 w 11598"/>
              <a:gd name="connsiteY77" fmla="*/ 1257 h 10000"/>
              <a:gd name="connsiteX78" fmla="*/ 0 w 11598"/>
              <a:gd name="connsiteY78" fmla="*/ 1125 h 10000"/>
              <a:gd name="connsiteX79" fmla="*/ 13 w 11598"/>
              <a:gd name="connsiteY79" fmla="*/ 992 h 10000"/>
              <a:gd name="connsiteX80" fmla="*/ 13 w 11598"/>
              <a:gd name="connsiteY80" fmla="*/ 992 h 10000"/>
              <a:gd name="connsiteX81" fmla="*/ 36 w 11598"/>
              <a:gd name="connsiteY81" fmla="*/ 870 h 10000"/>
              <a:gd name="connsiteX82" fmla="*/ 64 w 11598"/>
              <a:gd name="connsiteY82" fmla="*/ 746 h 10000"/>
              <a:gd name="connsiteX83" fmla="*/ 107 w 11598"/>
              <a:gd name="connsiteY83" fmla="*/ 622 h 10000"/>
              <a:gd name="connsiteX84" fmla="*/ 150 w 11598"/>
              <a:gd name="connsiteY84" fmla="*/ 503 h 10000"/>
              <a:gd name="connsiteX85" fmla="*/ 206 w 11598"/>
              <a:gd name="connsiteY85" fmla="*/ 385 h 10000"/>
              <a:gd name="connsiteX86" fmla="*/ 269 w 11598"/>
              <a:gd name="connsiteY86" fmla="*/ 265 h 10000"/>
              <a:gd name="connsiteX87" fmla="*/ 334 w 11598"/>
              <a:gd name="connsiteY87" fmla="*/ 152 h 10000"/>
              <a:gd name="connsiteX88" fmla="*/ 418 w 11598"/>
              <a:gd name="connsiteY88" fmla="*/ 38 h 10000"/>
              <a:gd name="connsiteX89" fmla="*/ 418 w 11598"/>
              <a:gd name="connsiteY89" fmla="*/ 38 h 10000"/>
              <a:gd name="connsiteX90" fmla="*/ 433 w 11598"/>
              <a:gd name="connsiteY90" fmla="*/ 0 h 10000"/>
              <a:gd name="connsiteX91" fmla="*/ 433 w 11598"/>
              <a:gd name="connsiteY91" fmla="*/ 0 h 10000"/>
              <a:gd name="connsiteX0" fmla="*/ 433 w 10017"/>
              <a:gd name="connsiteY0" fmla="*/ 0 h 10000"/>
              <a:gd name="connsiteX1" fmla="*/ 433 w 10017"/>
              <a:gd name="connsiteY1" fmla="*/ 0 h 10000"/>
              <a:gd name="connsiteX2" fmla="*/ 10017 w 10017"/>
              <a:gd name="connsiteY2" fmla="*/ 0 h 10000"/>
              <a:gd name="connsiteX3" fmla="*/ 9922 w 10017"/>
              <a:gd name="connsiteY3" fmla="*/ 8598 h 10000"/>
              <a:gd name="connsiteX4" fmla="*/ 9553 w 10017"/>
              <a:gd name="connsiteY4" fmla="*/ 8413 h 10000"/>
              <a:gd name="connsiteX5" fmla="*/ 9188 w 10017"/>
              <a:gd name="connsiteY5" fmla="*/ 8222 h 10000"/>
              <a:gd name="connsiteX6" fmla="*/ 8826 w 10017"/>
              <a:gd name="connsiteY6" fmla="*/ 8029 h 10000"/>
              <a:gd name="connsiteX7" fmla="*/ 8466 w 10017"/>
              <a:gd name="connsiteY7" fmla="*/ 7833 h 10000"/>
              <a:gd name="connsiteX8" fmla="*/ 8113 w 10017"/>
              <a:gd name="connsiteY8" fmla="*/ 7629 h 10000"/>
              <a:gd name="connsiteX9" fmla="*/ 8113 w 10017"/>
              <a:gd name="connsiteY9" fmla="*/ 7629 h 10000"/>
              <a:gd name="connsiteX10" fmla="*/ 7701 w 10017"/>
              <a:gd name="connsiteY10" fmla="*/ 7397 h 10000"/>
              <a:gd name="connsiteX11" fmla="*/ 7701 w 10017"/>
              <a:gd name="connsiteY11" fmla="*/ 7397 h 10000"/>
              <a:gd name="connsiteX12" fmla="*/ 7843 w 10017"/>
              <a:gd name="connsiteY12" fmla="*/ 7215 h 10000"/>
              <a:gd name="connsiteX13" fmla="*/ 7971 w 10017"/>
              <a:gd name="connsiteY13" fmla="*/ 7036 h 10000"/>
              <a:gd name="connsiteX14" fmla="*/ 7971 w 10017"/>
              <a:gd name="connsiteY14" fmla="*/ 7036 h 10000"/>
              <a:gd name="connsiteX15" fmla="*/ 8028 w 10017"/>
              <a:gd name="connsiteY15" fmla="*/ 6951 h 10000"/>
              <a:gd name="connsiteX16" fmla="*/ 8078 w 10017"/>
              <a:gd name="connsiteY16" fmla="*/ 6861 h 10000"/>
              <a:gd name="connsiteX17" fmla="*/ 8127 w 10017"/>
              <a:gd name="connsiteY17" fmla="*/ 6771 h 10000"/>
              <a:gd name="connsiteX18" fmla="*/ 8170 w 10017"/>
              <a:gd name="connsiteY18" fmla="*/ 6680 h 10000"/>
              <a:gd name="connsiteX19" fmla="*/ 8203 w 10017"/>
              <a:gd name="connsiteY19" fmla="*/ 6584 h 10000"/>
              <a:gd name="connsiteX20" fmla="*/ 8231 w 10017"/>
              <a:gd name="connsiteY20" fmla="*/ 6495 h 10000"/>
              <a:gd name="connsiteX21" fmla="*/ 8246 w 10017"/>
              <a:gd name="connsiteY21" fmla="*/ 6400 h 10000"/>
              <a:gd name="connsiteX22" fmla="*/ 8260 w 10017"/>
              <a:gd name="connsiteY22" fmla="*/ 6300 h 10000"/>
              <a:gd name="connsiteX23" fmla="*/ 8260 w 10017"/>
              <a:gd name="connsiteY23" fmla="*/ 6300 h 10000"/>
              <a:gd name="connsiteX24" fmla="*/ 8267 w 10017"/>
              <a:gd name="connsiteY24" fmla="*/ 6191 h 10000"/>
              <a:gd name="connsiteX25" fmla="*/ 8254 w 10017"/>
              <a:gd name="connsiteY25" fmla="*/ 6082 h 10000"/>
              <a:gd name="connsiteX26" fmla="*/ 8231 w 10017"/>
              <a:gd name="connsiteY26" fmla="*/ 5977 h 10000"/>
              <a:gd name="connsiteX27" fmla="*/ 8199 w 10017"/>
              <a:gd name="connsiteY27" fmla="*/ 5873 h 10000"/>
              <a:gd name="connsiteX28" fmla="*/ 8148 w 10017"/>
              <a:gd name="connsiteY28" fmla="*/ 5773 h 10000"/>
              <a:gd name="connsiteX29" fmla="*/ 8086 w 10017"/>
              <a:gd name="connsiteY29" fmla="*/ 5674 h 10000"/>
              <a:gd name="connsiteX30" fmla="*/ 8005 w 10017"/>
              <a:gd name="connsiteY30" fmla="*/ 5577 h 10000"/>
              <a:gd name="connsiteX31" fmla="*/ 7922 w 10017"/>
              <a:gd name="connsiteY31" fmla="*/ 5484 h 10000"/>
              <a:gd name="connsiteX32" fmla="*/ 7922 w 10017"/>
              <a:gd name="connsiteY32" fmla="*/ 5484 h 10000"/>
              <a:gd name="connsiteX33" fmla="*/ 7829 w 10017"/>
              <a:gd name="connsiteY33" fmla="*/ 5398 h 10000"/>
              <a:gd name="connsiteX34" fmla="*/ 7730 w 10017"/>
              <a:gd name="connsiteY34" fmla="*/ 5313 h 10000"/>
              <a:gd name="connsiteX35" fmla="*/ 7626 w 10017"/>
              <a:gd name="connsiteY35" fmla="*/ 5237 h 10000"/>
              <a:gd name="connsiteX36" fmla="*/ 7512 w 10017"/>
              <a:gd name="connsiteY36" fmla="*/ 5161 h 10000"/>
              <a:gd name="connsiteX37" fmla="*/ 7390 w 10017"/>
              <a:gd name="connsiteY37" fmla="*/ 5089 h 10000"/>
              <a:gd name="connsiteX38" fmla="*/ 7272 w 10017"/>
              <a:gd name="connsiteY38" fmla="*/ 5022 h 10000"/>
              <a:gd name="connsiteX39" fmla="*/ 7143 w 10017"/>
              <a:gd name="connsiteY39" fmla="*/ 4957 h 10000"/>
              <a:gd name="connsiteX40" fmla="*/ 7017 w 10017"/>
              <a:gd name="connsiteY40" fmla="*/ 4895 h 10000"/>
              <a:gd name="connsiteX41" fmla="*/ 7017 w 10017"/>
              <a:gd name="connsiteY41" fmla="*/ 4895 h 10000"/>
              <a:gd name="connsiteX42" fmla="*/ 6826 w 10017"/>
              <a:gd name="connsiteY42" fmla="*/ 4804 h 10000"/>
              <a:gd name="connsiteX43" fmla="*/ 6635 w 10017"/>
              <a:gd name="connsiteY43" fmla="*/ 4723 h 10000"/>
              <a:gd name="connsiteX44" fmla="*/ 6444 w 10017"/>
              <a:gd name="connsiteY44" fmla="*/ 4643 h 10000"/>
              <a:gd name="connsiteX45" fmla="*/ 6247 w 10017"/>
              <a:gd name="connsiteY45" fmla="*/ 4568 h 10000"/>
              <a:gd name="connsiteX46" fmla="*/ 6048 w 10017"/>
              <a:gd name="connsiteY46" fmla="*/ 4496 h 10000"/>
              <a:gd name="connsiteX47" fmla="*/ 5844 w 10017"/>
              <a:gd name="connsiteY47" fmla="*/ 4425 h 10000"/>
              <a:gd name="connsiteX48" fmla="*/ 5638 w 10017"/>
              <a:gd name="connsiteY48" fmla="*/ 4359 h 10000"/>
              <a:gd name="connsiteX49" fmla="*/ 5435 w 10017"/>
              <a:gd name="connsiteY49" fmla="*/ 4292 h 10000"/>
              <a:gd name="connsiteX50" fmla="*/ 5435 w 10017"/>
              <a:gd name="connsiteY50" fmla="*/ 4292 h 10000"/>
              <a:gd name="connsiteX51" fmla="*/ 4755 w 10017"/>
              <a:gd name="connsiteY51" fmla="*/ 4093 h 10000"/>
              <a:gd name="connsiteX52" fmla="*/ 4084 w 10017"/>
              <a:gd name="connsiteY52" fmla="*/ 3893 h 10000"/>
              <a:gd name="connsiteX53" fmla="*/ 2736 w 10017"/>
              <a:gd name="connsiteY53" fmla="*/ 3499 h 10000"/>
              <a:gd name="connsiteX54" fmla="*/ 2736 w 10017"/>
              <a:gd name="connsiteY54" fmla="*/ 3499 h 10000"/>
              <a:gd name="connsiteX55" fmla="*/ 2510 w 10017"/>
              <a:gd name="connsiteY55" fmla="*/ 3433 h 10000"/>
              <a:gd name="connsiteX56" fmla="*/ 2284 w 10017"/>
              <a:gd name="connsiteY56" fmla="*/ 3360 h 10000"/>
              <a:gd name="connsiteX57" fmla="*/ 2063 w 10017"/>
              <a:gd name="connsiteY57" fmla="*/ 3285 h 10000"/>
              <a:gd name="connsiteX58" fmla="*/ 1851 w 10017"/>
              <a:gd name="connsiteY58" fmla="*/ 3205 h 10000"/>
              <a:gd name="connsiteX59" fmla="*/ 1648 w 10017"/>
              <a:gd name="connsiteY59" fmla="*/ 3115 h 10000"/>
              <a:gd name="connsiteX60" fmla="*/ 1449 w 10017"/>
              <a:gd name="connsiteY60" fmla="*/ 3020 h 10000"/>
              <a:gd name="connsiteX61" fmla="*/ 1251 w 10017"/>
              <a:gd name="connsiteY61" fmla="*/ 2919 h 10000"/>
              <a:gd name="connsiteX62" fmla="*/ 1068 w 10017"/>
              <a:gd name="connsiteY62" fmla="*/ 2811 h 10000"/>
              <a:gd name="connsiteX63" fmla="*/ 1068 w 10017"/>
              <a:gd name="connsiteY63" fmla="*/ 2811 h 10000"/>
              <a:gd name="connsiteX64" fmla="*/ 926 w 10017"/>
              <a:gd name="connsiteY64" fmla="*/ 2716 h 10000"/>
              <a:gd name="connsiteX65" fmla="*/ 792 w 10017"/>
              <a:gd name="connsiteY65" fmla="*/ 2621 h 10000"/>
              <a:gd name="connsiteX66" fmla="*/ 665 w 10017"/>
              <a:gd name="connsiteY66" fmla="*/ 2520 h 10000"/>
              <a:gd name="connsiteX67" fmla="*/ 560 w 10017"/>
              <a:gd name="connsiteY67" fmla="*/ 2421 h 10000"/>
              <a:gd name="connsiteX68" fmla="*/ 452 w 10017"/>
              <a:gd name="connsiteY68" fmla="*/ 2317 h 10000"/>
              <a:gd name="connsiteX69" fmla="*/ 362 w 10017"/>
              <a:gd name="connsiteY69" fmla="*/ 2208 h 10000"/>
              <a:gd name="connsiteX70" fmla="*/ 282 w 10017"/>
              <a:gd name="connsiteY70" fmla="*/ 2098 h 10000"/>
              <a:gd name="connsiteX71" fmla="*/ 206 w 10017"/>
              <a:gd name="connsiteY71" fmla="*/ 1989 h 10000"/>
              <a:gd name="connsiteX72" fmla="*/ 150 w 10017"/>
              <a:gd name="connsiteY72" fmla="*/ 1876 h 10000"/>
              <a:gd name="connsiteX73" fmla="*/ 99 w 10017"/>
              <a:gd name="connsiteY73" fmla="*/ 1756 h 10000"/>
              <a:gd name="connsiteX74" fmla="*/ 56 w 10017"/>
              <a:gd name="connsiteY74" fmla="*/ 1633 h 10000"/>
              <a:gd name="connsiteX75" fmla="*/ 28 w 10017"/>
              <a:gd name="connsiteY75" fmla="*/ 1510 h 10000"/>
              <a:gd name="connsiteX76" fmla="*/ 8 w 10017"/>
              <a:gd name="connsiteY76" fmla="*/ 1386 h 10000"/>
              <a:gd name="connsiteX77" fmla="*/ 0 w 10017"/>
              <a:gd name="connsiteY77" fmla="*/ 1257 h 10000"/>
              <a:gd name="connsiteX78" fmla="*/ 0 w 10017"/>
              <a:gd name="connsiteY78" fmla="*/ 1125 h 10000"/>
              <a:gd name="connsiteX79" fmla="*/ 13 w 10017"/>
              <a:gd name="connsiteY79" fmla="*/ 992 h 10000"/>
              <a:gd name="connsiteX80" fmla="*/ 13 w 10017"/>
              <a:gd name="connsiteY80" fmla="*/ 992 h 10000"/>
              <a:gd name="connsiteX81" fmla="*/ 36 w 10017"/>
              <a:gd name="connsiteY81" fmla="*/ 870 h 10000"/>
              <a:gd name="connsiteX82" fmla="*/ 64 w 10017"/>
              <a:gd name="connsiteY82" fmla="*/ 746 h 10000"/>
              <a:gd name="connsiteX83" fmla="*/ 107 w 10017"/>
              <a:gd name="connsiteY83" fmla="*/ 622 h 10000"/>
              <a:gd name="connsiteX84" fmla="*/ 150 w 10017"/>
              <a:gd name="connsiteY84" fmla="*/ 503 h 10000"/>
              <a:gd name="connsiteX85" fmla="*/ 206 w 10017"/>
              <a:gd name="connsiteY85" fmla="*/ 385 h 10000"/>
              <a:gd name="connsiteX86" fmla="*/ 269 w 10017"/>
              <a:gd name="connsiteY86" fmla="*/ 265 h 10000"/>
              <a:gd name="connsiteX87" fmla="*/ 334 w 10017"/>
              <a:gd name="connsiteY87" fmla="*/ 152 h 10000"/>
              <a:gd name="connsiteX88" fmla="*/ 418 w 10017"/>
              <a:gd name="connsiteY88" fmla="*/ 38 h 10000"/>
              <a:gd name="connsiteX89" fmla="*/ 418 w 10017"/>
              <a:gd name="connsiteY89" fmla="*/ 38 h 10000"/>
              <a:gd name="connsiteX90" fmla="*/ 433 w 10017"/>
              <a:gd name="connsiteY90" fmla="*/ 0 h 10000"/>
              <a:gd name="connsiteX91" fmla="*/ 433 w 10017"/>
              <a:gd name="connsiteY91" fmla="*/ 0 h 10000"/>
              <a:gd name="connsiteX0" fmla="*/ 433 w 10017"/>
              <a:gd name="connsiteY0" fmla="*/ 0 h 8598"/>
              <a:gd name="connsiteX1" fmla="*/ 433 w 10017"/>
              <a:gd name="connsiteY1" fmla="*/ 0 h 8598"/>
              <a:gd name="connsiteX2" fmla="*/ 10017 w 10017"/>
              <a:gd name="connsiteY2" fmla="*/ 0 h 8598"/>
              <a:gd name="connsiteX3" fmla="*/ 9922 w 10017"/>
              <a:gd name="connsiteY3" fmla="*/ 8598 h 8598"/>
              <a:gd name="connsiteX4" fmla="*/ 9553 w 10017"/>
              <a:gd name="connsiteY4" fmla="*/ 8413 h 8598"/>
              <a:gd name="connsiteX5" fmla="*/ 9188 w 10017"/>
              <a:gd name="connsiteY5" fmla="*/ 8222 h 8598"/>
              <a:gd name="connsiteX6" fmla="*/ 8826 w 10017"/>
              <a:gd name="connsiteY6" fmla="*/ 8029 h 8598"/>
              <a:gd name="connsiteX7" fmla="*/ 8466 w 10017"/>
              <a:gd name="connsiteY7" fmla="*/ 7833 h 8598"/>
              <a:gd name="connsiteX8" fmla="*/ 8113 w 10017"/>
              <a:gd name="connsiteY8" fmla="*/ 7629 h 8598"/>
              <a:gd name="connsiteX9" fmla="*/ 8113 w 10017"/>
              <a:gd name="connsiteY9" fmla="*/ 7629 h 8598"/>
              <a:gd name="connsiteX10" fmla="*/ 7701 w 10017"/>
              <a:gd name="connsiteY10" fmla="*/ 7397 h 8598"/>
              <a:gd name="connsiteX11" fmla="*/ 7701 w 10017"/>
              <a:gd name="connsiteY11" fmla="*/ 7397 h 8598"/>
              <a:gd name="connsiteX12" fmla="*/ 7843 w 10017"/>
              <a:gd name="connsiteY12" fmla="*/ 7215 h 8598"/>
              <a:gd name="connsiteX13" fmla="*/ 7971 w 10017"/>
              <a:gd name="connsiteY13" fmla="*/ 7036 h 8598"/>
              <a:gd name="connsiteX14" fmla="*/ 7971 w 10017"/>
              <a:gd name="connsiteY14" fmla="*/ 7036 h 8598"/>
              <a:gd name="connsiteX15" fmla="*/ 8028 w 10017"/>
              <a:gd name="connsiteY15" fmla="*/ 6951 h 8598"/>
              <a:gd name="connsiteX16" fmla="*/ 8078 w 10017"/>
              <a:gd name="connsiteY16" fmla="*/ 6861 h 8598"/>
              <a:gd name="connsiteX17" fmla="*/ 8127 w 10017"/>
              <a:gd name="connsiteY17" fmla="*/ 6771 h 8598"/>
              <a:gd name="connsiteX18" fmla="*/ 8170 w 10017"/>
              <a:gd name="connsiteY18" fmla="*/ 6680 h 8598"/>
              <a:gd name="connsiteX19" fmla="*/ 8203 w 10017"/>
              <a:gd name="connsiteY19" fmla="*/ 6584 h 8598"/>
              <a:gd name="connsiteX20" fmla="*/ 8231 w 10017"/>
              <a:gd name="connsiteY20" fmla="*/ 6495 h 8598"/>
              <a:gd name="connsiteX21" fmla="*/ 8246 w 10017"/>
              <a:gd name="connsiteY21" fmla="*/ 6400 h 8598"/>
              <a:gd name="connsiteX22" fmla="*/ 8260 w 10017"/>
              <a:gd name="connsiteY22" fmla="*/ 6300 h 8598"/>
              <a:gd name="connsiteX23" fmla="*/ 8260 w 10017"/>
              <a:gd name="connsiteY23" fmla="*/ 6300 h 8598"/>
              <a:gd name="connsiteX24" fmla="*/ 8267 w 10017"/>
              <a:gd name="connsiteY24" fmla="*/ 6191 h 8598"/>
              <a:gd name="connsiteX25" fmla="*/ 8254 w 10017"/>
              <a:gd name="connsiteY25" fmla="*/ 6082 h 8598"/>
              <a:gd name="connsiteX26" fmla="*/ 8231 w 10017"/>
              <a:gd name="connsiteY26" fmla="*/ 5977 h 8598"/>
              <a:gd name="connsiteX27" fmla="*/ 8199 w 10017"/>
              <a:gd name="connsiteY27" fmla="*/ 5873 h 8598"/>
              <a:gd name="connsiteX28" fmla="*/ 8148 w 10017"/>
              <a:gd name="connsiteY28" fmla="*/ 5773 h 8598"/>
              <a:gd name="connsiteX29" fmla="*/ 8086 w 10017"/>
              <a:gd name="connsiteY29" fmla="*/ 5674 h 8598"/>
              <a:gd name="connsiteX30" fmla="*/ 8005 w 10017"/>
              <a:gd name="connsiteY30" fmla="*/ 5577 h 8598"/>
              <a:gd name="connsiteX31" fmla="*/ 7922 w 10017"/>
              <a:gd name="connsiteY31" fmla="*/ 5484 h 8598"/>
              <a:gd name="connsiteX32" fmla="*/ 7922 w 10017"/>
              <a:gd name="connsiteY32" fmla="*/ 5484 h 8598"/>
              <a:gd name="connsiteX33" fmla="*/ 7829 w 10017"/>
              <a:gd name="connsiteY33" fmla="*/ 5398 h 8598"/>
              <a:gd name="connsiteX34" fmla="*/ 7730 w 10017"/>
              <a:gd name="connsiteY34" fmla="*/ 5313 h 8598"/>
              <a:gd name="connsiteX35" fmla="*/ 7626 w 10017"/>
              <a:gd name="connsiteY35" fmla="*/ 5237 h 8598"/>
              <a:gd name="connsiteX36" fmla="*/ 7512 w 10017"/>
              <a:gd name="connsiteY36" fmla="*/ 5161 h 8598"/>
              <a:gd name="connsiteX37" fmla="*/ 7390 w 10017"/>
              <a:gd name="connsiteY37" fmla="*/ 5089 h 8598"/>
              <a:gd name="connsiteX38" fmla="*/ 7272 w 10017"/>
              <a:gd name="connsiteY38" fmla="*/ 5022 h 8598"/>
              <a:gd name="connsiteX39" fmla="*/ 7143 w 10017"/>
              <a:gd name="connsiteY39" fmla="*/ 4957 h 8598"/>
              <a:gd name="connsiteX40" fmla="*/ 7017 w 10017"/>
              <a:gd name="connsiteY40" fmla="*/ 4895 h 8598"/>
              <a:gd name="connsiteX41" fmla="*/ 7017 w 10017"/>
              <a:gd name="connsiteY41" fmla="*/ 4895 h 8598"/>
              <a:gd name="connsiteX42" fmla="*/ 6826 w 10017"/>
              <a:gd name="connsiteY42" fmla="*/ 4804 h 8598"/>
              <a:gd name="connsiteX43" fmla="*/ 6635 w 10017"/>
              <a:gd name="connsiteY43" fmla="*/ 4723 h 8598"/>
              <a:gd name="connsiteX44" fmla="*/ 6444 w 10017"/>
              <a:gd name="connsiteY44" fmla="*/ 4643 h 8598"/>
              <a:gd name="connsiteX45" fmla="*/ 6247 w 10017"/>
              <a:gd name="connsiteY45" fmla="*/ 4568 h 8598"/>
              <a:gd name="connsiteX46" fmla="*/ 6048 w 10017"/>
              <a:gd name="connsiteY46" fmla="*/ 4496 h 8598"/>
              <a:gd name="connsiteX47" fmla="*/ 5844 w 10017"/>
              <a:gd name="connsiteY47" fmla="*/ 4425 h 8598"/>
              <a:gd name="connsiteX48" fmla="*/ 5638 w 10017"/>
              <a:gd name="connsiteY48" fmla="*/ 4359 h 8598"/>
              <a:gd name="connsiteX49" fmla="*/ 5435 w 10017"/>
              <a:gd name="connsiteY49" fmla="*/ 4292 h 8598"/>
              <a:gd name="connsiteX50" fmla="*/ 5435 w 10017"/>
              <a:gd name="connsiteY50" fmla="*/ 4292 h 8598"/>
              <a:gd name="connsiteX51" fmla="*/ 4755 w 10017"/>
              <a:gd name="connsiteY51" fmla="*/ 4093 h 8598"/>
              <a:gd name="connsiteX52" fmla="*/ 4084 w 10017"/>
              <a:gd name="connsiteY52" fmla="*/ 3893 h 8598"/>
              <a:gd name="connsiteX53" fmla="*/ 2736 w 10017"/>
              <a:gd name="connsiteY53" fmla="*/ 3499 h 8598"/>
              <a:gd name="connsiteX54" fmla="*/ 2736 w 10017"/>
              <a:gd name="connsiteY54" fmla="*/ 3499 h 8598"/>
              <a:gd name="connsiteX55" fmla="*/ 2510 w 10017"/>
              <a:gd name="connsiteY55" fmla="*/ 3433 h 8598"/>
              <a:gd name="connsiteX56" fmla="*/ 2284 w 10017"/>
              <a:gd name="connsiteY56" fmla="*/ 3360 h 8598"/>
              <a:gd name="connsiteX57" fmla="*/ 2063 w 10017"/>
              <a:gd name="connsiteY57" fmla="*/ 3285 h 8598"/>
              <a:gd name="connsiteX58" fmla="*/ 1851 w 10017"/>
              <a:gd name="connsiteY58" fmla="*/ 3205 h 8598"/>
              <a:gd name="connsiteX59" fmla="*/ 1648 w 10017"/>
              <a:gd name="connsiteY59" fmla="*/ 3115 h 8598"/>
              <a:gd name="connsiteX60" fmla="*/ 1449 w 10017"/>
              <a:gd name="connsiteY60" fmla="*/ 3020 h 8598"/>
              <a:gd name="connsiteX61" fmla="*/ 1251 w 10017"/>
              <a:gd name="connsiteY61" fmla="*/ 2919 h 8598"/>
              <a:gd name="connsiteX62" fmla="*/ 1068 w 10017"/>
              <a:gd name="connsiteY62" fmla="*/ 2811 h 8598"/>
              <a:gd name="connsiteX63" fmla="*/ 1068 w 10017"/>
              <a:gd name="connsiteY63" fmla="*/ 2811 h 8598"/>
              <a:gd name="connsiteX64" fmla="*/ 926 w 10017"/>
              <a:gd name="connsiteY64" fmla="*/ 2716 h 8598"/>
              <a:gd name="connsiteX65" fmla="*/ 792 w 10017"/>
              <a:gd name="connsiteY65" fmla="*/ 2621 h 8598"/>
              <a:gd name="connsiteX66" fmla="*/ 665 w 10017"/>
              <a:gd name="connsiteY66" fmla="*/ 2520 h 8598"/>
              <a:gd name="connsiteX67" fmla="*/ 560 w 10017"/>
              <a:gd name="connsiteY67" fmla="*/ 2421 h 8598"/>
              <a:gd name="connsiteX68" fmla="*/ 452 w 10017"/>
              <a:gd name="connsiteY68" fmla="*/ 2317 h 8598"/>
              <a:gd name="connsiteX69" fmla="*/ 362 w 10017"/>
              <a:gd name="connsiteY69" fmla="*/ 2208 h 8598"/>
              <a:gd name="connsiteX70" fmla="*/ 282 w 10017"/>
              <a:gd name="connsiteY70" fmla="*/ 2098 h 8598"/>
              <a:gd name="connsiteX71" fmla="*/ 206 w 10017"/>
              <a:gd name="connsiteY71" fmla="*/ 1989 h 8598"/>
              <a:gd name="connsiteX72" fmla="*/ 150 w 10017"/>
              <a:gd name="connsiteY72" fmla="*/ 1876 h 8598"/>
              <a:gd name="connsiteX73" fmla="*/ 99 w 10017"/>
              <a:gd name="connsiteY73" fmla="*/ 1756 h 8598"/>
              <a:gd name="connsiteX74" fmla="*/ 56 w 10017"/>
              <a:gd name="connsiteY74" fmla="*/ 1633 h 8598"/>
              <a:gd name="connsiteX75" fmla="*/ 28 w 10017"/>
              <a:gd name="connsiteY75" fmla="*/ 1510 h 8598"/>
              <a:gd name="connsiteX76" fmla="*/ 8 w 10017"/>
              <a:gd name="connsiteY76" fmla="*/ 1386 h 8598"/>
              <a:gd name="connsiteX77" fmla="*/ 0 w 10017"/>
              <a:gd name="connsiteY77" fmla="*/ 1257 h 8598"/>
              <a:gd name="connsiteX78" fmla="*/ 0 w 10017"/>
              <a:gd name="connsiteY78" fmla="*/ 1125 h 8598"/>
              <a:gd name="connsiteX79" fmla="*/ 13 w 10017"/>
              <a:gd name="connsiteY79" fmla="*/ 992 h 8598"/>
              <a:gd name="connsiteX80" fmla="*/ 13 w 10017"/>
              <a:gd name="connsiteY80" fmla="*/ 992 h 8598"/>
              <a:gd name="connsiteX81" fmla="*/ 36 w 10017"/>
              <a:gd name="connsiteY81" fmla="*/ 870 h 8598"/>
              <a:gd name="connsiteX82" fmla="*/ 64 w 10017"/>
              <a:gd name="connsiteY82" fmla="*/ 746 h 8598"/>
              <a:gd name="connsiteX83" fmla="*/ 107 w 10017"/>
              <a:gd name="connsiteY83" fmla="*/ 622 h 8598"/>
              <a:gd name="connsiteX84" fmla="*/ 150 w 10017"/>
              <a:gd name="connsiteY84" fmla="*/ 503 h 8598"/>
              <a:gd name="connsiteX85" fmla="*/ 206 w 10017"/>
              <a:gd name="connsiteY85" fmla="*/ 385 h 8598"/>
              <a:gd name="connsiteX86" fmla="*/ 269 w 10017"/>
              <a:gd name="connsiteY86" fmla="*/ 265 h 8598"/>
              <a:gd name="connsiteX87" fmla="*/ 334 w 10017"/>
              <a:gd name="connsiteY87" fmla="*/ 152 h 8598"/>
              <a:gd name="connsiteX88" fmla="*/ 418 w 10017"/>
              <a:gd name="connsiteY88" fmla="*/ 38 h 8598"/>
              <a:gd name="connsiteX89" fmla="*/ 418 w 10017"/>
              <a:gd name="connsiteY89" fmla="*/ 38 h 8598"/>
              <a:gd name="connsiteX90" fmla="*/ 433 w 10017"/>
              <a:gd name="connsiteY90" fmla="*/ 0 h 8598"/>
              <a:gd name="connsiteX91" fmla="*/ 433 w 10017"/>
              <a:gd name="connsiteY91" fmla="*/ 0 h 8598"/>
              <a:gd name="connsiteX0" fmla="*/ 432 w 10078"/>
              <a:gd name="connsiteY0" fmla="*/ 0 h 10096"/>
              <a:gd name="connsiteX1" fmla="*/ 432 w 10078"/>
              <a:gd name="connsiteY1" fmla="*/ 0 h 10096"/>
              <a:gd name="connsiteX2" fmla="*/ 10000 w 10078"/>
              <a:gd name="connsiteY2" fmla="*/ 0 h 10096"/>
              <a:gd name="connsiteX3" fmla="*/ 10000 w 10078"/>
              <a:gd name="connsiteY3" fmla="*/ 10096 h 10096"/>
              <a:gd name="connsiteX4" fmla="*/ 9537 w 10078"/>
              <a:gd name="connsiteY4" fmla="*/ 9785 h 10096"/>
              <a:gd name="connsiteX5" fmla="*/ 9172 w 10078"/>
              <a:gd name="connsiteY5" fmla="*/ 9563 h 10096"/>
              <a:gd name="connsiteX6" fmla="*/ 8811 w 10078"/>
              <a:gd name="connsiteY6" fmla="*/ 9338 h 10096"/>
              <a:gd name="connsiteX7" fmla="*/ 8452 w 10078"/>
              <a:gd name="connsiteY7" fmla="*/ 9110 h 10096"/>
              <a:gd name="connsiteX8" fmla="*/ 8099 w 10078"/>
              <a:gd name="connsiteY8" fmla="*/ 8873 h 10096"/>
              <a:gd name="connsiteX9" fmla="*/ 8099 w 10078"/>
              <a:gd name="connsiteY9" fmla="*/ 8873 h 10096"/>
              <a:gd name="connsiteX10" fmla="*/ 7688 w 10078"/>
              <a:gd name="connsiteY10" fmla="*/ 8603 h 10096"/>
              <a:gd name="connsiteX11" fmla="*/ 7688 w 10078"/>
              <a:gd name="connsiteY11" fmla="*/ 8603 h 10096"/>
              <a:gd name="connsiteX12" fmla="*/ 7830 w 10078"/>
              <a:gd name="connsiteY12" fmla="*/ 8391 h 10096"/>
              <a:gd name="connsiteX13" fmla="*/ 7957 w 10078"/>
              <a:gd name="connsiteY13" fmla="*/ 8183 h 10096"/>
              <a:gd name="connsiteX14" fmla="*/ 7957 w 10078"/>
              <a:gd name="connsiteY14" fmla="*/ 8183 h 10096"/>
              <a:gd name="connsiteX15" fmla="*/ 8014 w 10078"/>
              <a:gd name="connsiteY15" fmla="*/ 8084 h 10096"/>
              <a:gd name="connsiteX16" fmla="*/ 8064 w 10078"/>
              <a:gd name="connsiteY16" fmla="*/ 7980 h 10096"/>
              <a:gd name="connsiteX17" fmla="*/ 8113 w 10078"/>
              <a:gd name="connsiteY17" fmla="*/ 7875 h 10096"/>
              <a:gd name="connsiteX18" fmla="*/ 8156 w 10078"/>
              <a:gd name="connsiteY18" fmla="*/ 7769 h 10096"/>
              <a:gd name="connsiteX19" fmla="*/ 8189 w 10078"/>
              <a:gd name="connsiteY19" fmla="*/ 7658 h 10096"/>
              <a:gd name="connsiteX20" fmla="*/ 8217 w 10078"/>
              <a:gd name="connsiteY20" fmla="*/ 7554 h 10096"/>
              <a:gd name="connsiteX21" fmla="*/ 8232 w 10078"/>
              <a:gd name="connsiteY21" fmla="*/ 7444 h 10096"/>
              <a:gd name="connsiteX22" fmla="*/ 8246 w 10078"/>
              <a:gd name="connsiteY22" fmla="*/ 7327 h 10096"/>
              <a:gd name="connsiteX23" fmla="*/ 8246 w 10078"/>
              <a:gd name="connsiteY23" fmla="*/ 7327 h 10096"/>
              <a:gd name="connsiteX24" fmla="*/ 8253 w 10078"/>
              <a:gd name="connsiteY24" fmla="*/ 7201 h 10096"/>
              <a:gd name="connsiteX25" fmla="*/ 8240 w 10078"/>
              <a:gd name="connsiteY25" fmla="*/ 7074 h 10096"/>
              <a:gd name="connsiteX26" fmla="*/ 8217 w 10078"/>
              <a:gd name="connsiteY26" fmla="*/ 6952 h 10096"/>
              <a:gd name="connsiteX27" fmla="*/ 8185 w 10078"/>
              <a:gd name="connsiteY27" fmla="*/ 6831 h 10096"/>
              <a:gd name="connsiteX28" fmla="*/ 8134 w 10078"/>
              <a:gd name="connsiteY28" fmla="*/ 6714 h 10096"/>
              <a:gd name="connsiteX29" fmla="*/ 8072 w 10078"/>
              <a:gd name="connsiteY29" fmla="*/ 6599 h 10096"/>
              <a:gd name="connsiteX30" fmla="*/ 7991 w 10078"/>
              <a:gd name="connsiteY30" fmla="*/ 6486 h 10096"/>
              <a:gd name="connsiteX31" fmla="*/ 7909 w 10078"/>
              <a:gd name="connsiteY31" fmla="*/ 6378 h 10096"/>
              <a:gd name="connsiteX32" fmla="*/ 7909 w 10078"/>
              <a:gd name="connsiteY32" fmla="*/ 6378 h 10096"/>
              <a:gd name="connsiteX33" fmla="*/ 7816 w 10078"/>
              <a:gd name="connsiteY33" fmla="*/ 6278 h 10096"/>
              <a:gd name="connsiteX34" fmla="*/ 7717 w 10078"/>
              <a:gd name="connsiteY34" fmla="*/ 6179 h 10096"/>
              <a:gd name="connsiteX35" fmla="*/ 7613 w 10078"/>
              <a:gd name="connsiteY35" fmla="*/ 6091 h 10096"/>
              <a:gd name="connsiteX36" fmla="*/ 7499 w 10078"/>
              <a:gd name="connsiteY36" fmla="*/ 6003 h 10096"/>
              <a:gd name="connsiteX37" fmla="*/ 7377 w 10078"/>
              <a:gd name="connsiteY37" fmla="*/ 5919 h 10096"/>
              <a:gd name="connsiteX38" fmla="*/ 7260 w 10078"/>
              <a:gd name="connsiteY38" fmla="*/ 5841 h 10096"/>
              <a:gd name="connsiteX39" fmla="*/ 7131 w 10078"/>
              <a:gd name="connsiteY39" fmla="*/ 5765 h 10096"/>
              <a:gd name="connsiteX40" fmla="*/ 7005 w 10078"/>
              <a:gd name="connsiteY40" fmla="*/ 5693 h 10096"/>
              <a:gd name="connsiteX41" fmla="*/ 7005 w 10078"/>
              <a:gd name="connsiteY41" fmla="*/ 5693 h 10096"/>
              <a:gd name="connsiteX42" fmla="*/ 6814 w 10078"/>
              <a:gd name="connsiteY42" fmla="*/ 5587 h 10096"/>
              <a:gd name="connsiteX43" fmla="*/ 6624 w 10078"/>
              <a:gd name="connsiteY43" fmla="*/ 5493 h 10096"/>
              <a:gd name="connsiteX44" fmla="*/ 6433 w 10078"/>
              <a:gd name="connsiteY44" fmla="*/ 5400 h 10096"/>
              <a:gd name="connsiteX45" fmla="*/ 6236 w 10078"/>
              <a:gd name="connsiteY45" fmla="*/ 5313 h 10096"/>
              <a:gd name="connsiteX46" fmla="*/ 6038 w 10078"/>
              <a:gd name="connsiteY46" fmla="*/ 5229 h 10096"/>
              <a:gd name="connsiteX47" fmla="*/ 5834 w 10078"/>
              <a:gd name="connsiteY47" fmla="*/ 5147 h 10096"/>
              <a:gd name="connsiteX48" fmla="*/ 5628 w 10078"/>
              <a:gd name="connsiteY48" fmla="*/ 5070 h 10096"/>
              <a:gd name="connsiteX49" fmla="*/ 5426 w 10078"/>
              <a:gd name="connsiteY49" fmla="*/ 4992 h 10096"/>
              <a:gd name="connsiteX50" fmla="*/ 5426 w 10078"/>
              <a:gd name="connsiteY50" fmla="*/ 4992 h 10096"/>
              <a:gd name="connsiteX51" fmla="*/ 4747 w 10078"/>
              <a:gd name="connsiteY51" fmla="*/ 4760 h 10096"/>
              <a:gd name="connsiteX52" fmla="*/ 4077 w 10078"/>
              <a:gd name="connsiteY52" fmla="*/ 4528 h 10096"/>
              <a:gd name="connsiteX53" fmla="*/ 2731 w 10078"/>
              <a:gd name="connsiteY53" fmla="*/ 4070 h 10096"/>
              <a:gd name="connsiteX54" fmla="*/ 2731 w 10078"/>
              <a:gd name="connsiteY54" fmla="*/ 4070 h 10096"/>
              <a:gd name="connsiteX55" fmla="*/ 2506 w 10078"/>
              <a:gd name="connsiteY55" fmla="*/ 3993 h 10096"/>
              <a:gd name="connsiteX56" fmla="*/ 2280 w 10078"/>
              <a:gd name="connsiteY56" fmla="*/ 3908 h 10096"/>
              <a:gd name="connsiteX57" fmla="*/ 2059 w 10078"/>
              <a:gd name="connsiteY57" fmla="*/ 3821 h 10096"/>
              <a:gd name="connsiteX58" fmla="*/ 1848 w 10078"/>
              <a:gd name="connsiteY58" fmla="*/ 3728 h 10096"/>
              <a:gd name="connsiteX59" fmla="*/ 1645 w 10078"/>
              <a:gd name="connsiteY59" fmla="*/ 3623 h 10096"/>
              <a:gd name="connsiteX60" fmla="*/ 1447 w 10078"/>
              <a:gd name="connsiteY60" fmla="*/ 3512 h 10096"/>
              <a:gd name="connsiteX61" fmla="*/ 1249 w 10078"/>
              <a:gd name="connsiteY61" fmla="*/ 3395 h 10096"/>
              <a:gd name="connsiteX62" fmla="*/ 1066 w 10078"/>
              <a:gd name="connsiteY62" fmla="*/ 3269 h 10096"/>
              <a:gd name="connsiteX63" fmla="*/ 1066 w 10078"/>
              <a:gd name="connsiteY63" fmla="*/ 3269 h 10096"/>
              <a:gd name="connsiteX64" fmla="*/ 924 w 10078"/>
              <a:gd name="connsiteY64" fmla="*/ 3159 h 10096"/>
              <a:gd name="connsiteX65" fmla="*/ 791 w 10078"/>
              <a:gd name="connsiteY65" fmla="*/ 3048 h 10096"/>
              <a:gd name="connsiteX66" fmla="*/ 664 w 10078"/>
              <a:gd name="connsiteY66" fmla="*/ 2931 h 10096"/>
              <a:gd name="connsiteX67" fmla="*/ 559 w 10078"/>
              <a:gd name="connsiteY67" fmla="*/ 2816 h 10096"/>
              <a:gd name="connsiteX68" fmla="*/ 451 w 10078"/>
              <a:gd name="connsiteY68" fmla="*/ 2695 h 10096"/>
              <a:gd name="connsiteX69" fmla="*/ 361 w 10078"/>
              <a:gd name="connsiteY69" fmla="*/ 2568 h 10096"/>
              <a:gd name="connsiteX70" fmla="*/ 282 w 10078"/>
              <a:gd name="connsiteY70" fmla="*/ 2440 h 10096"/>
              <a:gd name="connsiteX71" fmla="*/ 206 w 10078"/>
              <a:gd name="connsiteY71" fmla="*/ 2313 h 10096"/>
              <a:gd name="connsiteX72" fmla="*/ 150 w 10078"/>
              <a:gd name="connsiteY72" fmla="*/ 2182 h 10096"/>
              <a:gd name="connsiteX73" fmla="*/ 99 w 10078"/>
              <a:gd name="connsiteY73" fmla="*/ 2042 h 10096"/>
              <a:gd name="connsiteX74" fmla="*/ 56 w 10078"/>
              <a:gd name="connsiteY74" fmla="*/ 1899 h 10096"/>
              <a:gd name="connsiteX75" fmla="*/ 28 w 10078"/>
              <a:gd name="connsiteY75" fmla="*/ 1756 h 10096"/>
              <a:gd name="connsiteX76" fmla="*/ 8 w 10078"/>
              <a:gd name="connsiteY76" fmla="*/ 1612 h 10096"/>
              <a:gd name="connsiteX77" fmla="*/ 0 w 10078"/>
              <a:gd name="connsiteY77" fmla="*/ 1462 h 10096"/>
              <a:gd name="connsiteX78" fmla="*/ 0 w 10078"/>
              <a:gd name="connsiteY78" fmla="*/ 1308 h 10096"/>
              <a:gd name="connsiteX79" fmla="*/ 13 w 10078"/>
              <a:gd name="connsiteY79" fmla="*/ 1154 h 10096"/>
              <a:gd name="connsiteX80" fmla="*/ 13 w 10078"/>
              <a:gd name="connsiteY80" fmla="*/ 1154 h 10096"/>
              <a:gd name="connsiteX81" fmla="*/ 36 w 10078"/>
              <a:gd name="connsiteY81" fmla="*/ 1012 h 10096"/>
              <a:gd name="connsiteX82" fmla="*/ 64 w 10078"/>
              <a:gd name="connsiteY82" fmla="*/ 868 h 10096"/>
              <a:gd name="connsiteX83" fmla="*/ 107 w 10078"/>
              <a:gd name="connsiteY83" fmla="*/ 723 h 10096"/>
              <a:gd name="connsiteX84" fmla="*/ 150 w 10078"/>
              <a:gd name="connsiteY84" fmla="*/ 585 h 10096"/>
              <a:gd name="connsiteX85" fmla="*/ 206 w 10078"/>
              <a:gd name="connsiteY85" fmla="*/ 448 h 10096"/>
              <a:gd name="connsiteX86" fmla="*/ 269 w 10078"/>
              <a:gd name="connsiteY86" fmla="*/ 308 h 10096"/>
              <a:gd name="connsiteX87" fmla="*/ 333 w 10078"/>
              <a:gd name="connsiteY87" fmla="*/ 177 h 10096"/>
              <a:gd name="connsiteX88" fmla="*/ 417 w 10078"/>
              <a:gd name="connsiteY88" fmla="*/ 44 h 10096"/>
              <a:gd name="connsiteX89" fmla="*/ 417 w 10078"/>
              <a:gd name="connsiteY89" fmla="*/ 44 h 10096"/>
              <a:gd name="connsiteX90" fmla="*/ 432 w 10078"/>
              <a:gd name="connsiteY90" fmla="*/ 0 h 10096"/>
              <a:gd name="connsiteX91" fmla="*/ 432 w 10078"/>
              <a:gd name="connsiteY91" fmla="*/ 0 h 10096"/>
              <a:gd name="connsiteX0" fmla="*/ 432 w 10921"/>
              <a:gd name="connsiteY0" fmla="*/ 0 h 10096"/>
              <a:gd name="connsiteX1" fmla="*/ 432 w 10921"/>
              <a:gd name="connsiteY1" fmla="*/ 0 h 10096"/>
              <a:gd name="connsiteX2" fmla="*/ 10000 w 10921"/>
              <a:gd name="connsiteY2" fmla="*/ 0 h 10096"/>
              <a:gd name="connsiteX3" fmla="*/ 10000 w 10921"/>
              <a:gd name="connsiteY3" fmla="*/ 10096 h 10096"/>
              <a:gd name="connsiteX4" fmla="*/ 9537 w 10921"/>
              <a:gd name="connsiteY4" fmla="*/ 9785 h 10096"/>
              <a:gd name="connsiteX5" fmla="*/ 9172 w 10921"/>
              <a:gd name="connsiteY5" fmla="*/ 9563 h 10096"/>
              <a:gd name="connsiteX6" fmla="*/ 8811 w 10921"/>
              <a:gd name="connsiteY6" fmla="*/ 9338 h 10096"/>
              <a:gd name="connsiteX7" fmla="*/ 8452 w 10921"/>
              <a:gd name="connsiteY7" fmla="*/ 9110 h 10096"/>
              <a:gd name="connsiteX8" fmla="*/ 8099 w 10921"/>
              <a:gd name="connsiteY8" fmla="*/ 8873 h 10096"/>
              <a:gd name="connsiteX9" fmla="*/ 8099 w 10921"/>
              <a:gd name="connsiteY9" fmla="*/ 8873 h 10096"/>
              <a:gd name="connsiteX10" fmla="*/ 7688 w 10921"/>
              <a:gd name="connsiteY10" fmla="*/ 8603 h 10096"/>
              <a:gd name="connsiteX11" fmla="*/ 7688 w 10921"/>
              <a:gd name="connsiteY11" fmla="*/ 8603 h 10096"/>
              <a:gd name="connsiteX12" fmla="*/ 7830 w 10921"/>
              <a:gd name="connsiteY12" fmla="*/ 8391 h 10096"/>
              <a:gd name="connsiteX13" fmla="*/ 7957 w 10921"/>
              <a:gd name="connsiteY13" fmla="*/ 8183 h 10096"/>
              <a:gd name="connsiteX14" fmla="*/ 7957 w 10921"/>
              <a:gd name="connsiteY14" fmla="*/ 8183 h 10096"/>
              <a:gd name="connsiteX15" fmla="*/ 8014 w 10921"/>
              <a:gd name="connsiteY15" fmla="*/ 8084 h 10096"/>
              <a:gd name="connsiteX16" fmla="*/ 8064 w 10921"/>
              <a:gd name="connsiteY16" fmla="*/ 7980 h 10096"/>
              <a:gd name="connsiteX17" fmla="*/ 8113 w 10921"/>
              <a:gd name="connsiteY17" fmla="*/ 7875 h 10096"/>
              <a:gd name="connsiteX18" fmla="*/ 8156 w 10921"/>
              <a:gd name="connsiteY18" fmla="*/ 7769 h 10096"/>
              <a:gd name="connsiteX19" fmla="*/ 8189 w 10921"/>
              <a:gd name="connsiteY19" fmla="*/ 7658 h 10096"/>
              <a:gd name="connsiteX20" fmla="*/ 8217 w 10921"/>
              <a:gd name="connsiteY20" fmla="*/ 7554 h 10096"/>
              <a:gd name="connsiteX21" fmla="*/ 8232 w 10921"/>
              <a:gd name="connsiteY21" fmla="*/ 7444 h 10096"/>
              <a:gd name="connsiteX22" fmla="*/ 8246 w 10921"/>
              <a:gd name="connsiteY22" fmla="*/ 7327 h 10096"/>
              <a:gd name="connsiteX23" fmla="*/ 8246 w 10921"/>
              <a:gd name="connsiteY23" fmla="*/ 7327 h 10096"/>
              <a:gd name="connsiteX24" fmla="*/ 8253 w 10921"/>
              <a:gd name="connsiteY24" fmla="*/ 7201 h 10096"/>
              <a:gd name="connsiteX25" fmla="*/ 8240 w 10921"/>
              <a:gd name="connsiteY25" fmla="*/ 7074 h 10096"/>
              <a:gd name="connsiteX26" fmla="*/ 8217 w 10921"/>
              <a:gd name="connsiteY26" fmla="*/ 6952 h 10096"/>
              <a:gd name="connsiteX27" fmla="*/ 8185 w 10921"/>
              <a:gd name="connsiteY27" fmla="*/ 6831 h 10096"/>
              <a:gd name="connsiteX28" fmla="*/ 8134 w 10921"/>
              <a:gd name="connsiteY28" fmla="*/ 6714 h 10096"/>
              <a:gd name="connsiteX29" fmla="*/ 8072 w 10921"/>
              <a:gd name="connsiteY29" fmla="*/ 6599 h 10096"/>
              <a:gd name="connsiteX30" fmla="*/ 7991 w 10921"/>
              <a:gd name="connsiteY30" fmla="*/ 6486 h 10096"/>
              <a:gd name="connsiteX31" fmla="*/ 7909 w 10921"/>
              <a:gd name="connsiteY31" fmla="*/ 6378 h 10096"/>
              <a:gd name="connsiteX32" fmla="*/ 7909 w 10921"/>
              <a:gd name="connsiteY32" fmla="*/ 6378 h 10096"/>
              <a:gd name="connsiteX33" fmla="*/ 7816 w 10921"/>
              <a:gd name="connsiteY33" fmla="*/ 6278 h 10096"/>
              <a:gd name="connsiteX34" fmla="*/ 7717 w 10921"/>
              <a:gd name="connsiteY34" fmla="*/ 6179 h 10096"/>
              <a:gd name="connsiteX35" fmla="*/ 7613 w 10921"/>
              <a:gd name="connsiteY35" fmla="*/ 6091 h 10096"/>
              <a:gd name="connsiteX36" fmla="*/ 7499 w 10921"/>
              <a:gd name="connsiteY36" fmla="*/ 6003 h 10096"/>
              <a:gd name="connsiteX37" fmla="*/ 7377 w 10921"/>
              <a:gd name="connsiteY37" fmla="*/ 5919 h 10096"/>
              <a:gd name="connsiteX38" fmla="*/ 7260 w 10921"/>
              <a:gd name="connsiteY38" fmla="*/ 5841 h 10096"/>
              <a:gd name="connsiteX39" fmla="*/ 7131 w 10921"/>
              <a:gd name="connsiteY39" fmla="*/ 5765 h 10096"/>
              <a:gd name="connsiteX40" fmla="*/ 7005 w 10921"/>
              <a:gd name="connsiteY40" fmla="*/ 5693 h 10096"/>
              <a:gd name="connsiteX41" fmla="*/ 7005 w 10921"/>
              <a:gd name="connsiteY41" fmla="*/ 5693 h 10096"/>
              <a:gd name="connsiteX42" fmla="*/ 6814 w 10921"/>
              <a:gd name="connsiteY42" fmla="*/ 5587 h 10096"/>
              <a:gd name="connsiteX43" fmla="*/ 6624 w 10921"/>
              <a:gd name="connsiteY43" fmla="*/ 5493 h 10096"/>
              <a:gd name="connsiteX44" fmla="*/ 6433 w 10921"/>
              <a:gd name="connsiteY44" fmla="*/ 5400 h 10096"/>
              <a:gd name="connsiteX45" fmla="*/ 6236 w 10921"/>
              <a:gd name="connsiteY45" fmla="*/ 5313 h 10096"/>
              <a:gd name="connsiteX46" fmla="*/ 6038 w 10921"/>
              <a:gd name="connsiteY46" fmla="*/ 5229 h 10096"/>
              <a:gd name="connsiteX47" fmla="*/ 5834 w 10921"/>
              <a:gd name="connsiteY47" fmla="*/ 5147 h 10096"/>
              <a:gd name="connsiteX48" fmla="*/ 5628 w 10921"/>
              <a:gd name="connsiteY48" fmla="*/ 5070 h 10096"/>
              <a:gd name="connsiteX49" fmla="*/ 5426 w 10921"/>
              <a:gd name="connsiteY49" fmla="*/ 4992 h 10096"/>
              <a:gd name="connsiteX50" fmla="*/ 5426 w 10921"/>
              <a:gd name="connsiteY50" fmla="*/ 4992 h 10096"/>
              <a:gd name="connsiteX51" fmla="*/ 4747 w 10921"/>
              <a:gd name="connsiteY51" fmla="*/ 4760 h 10096"/>
              <a:gd name="connsiteX52" fmla="*/ 4077 w 10921"/>
              <a:gd name="connsiteY52" fmla="*/ 4528 h 10096"/>
              <a:gd name="connsiteX53" fmla="*/ 2731 w 10921"/>
              <a:gd name="connsiteY53" fmla="*/ 4070 h 10096"/>
              <a:gd name="connsiteX54" fmla="*/ 2731 w 10921"/>
              <a:gd name="connsiteY54" fmla="*/ 4070 h 10096"/>
              <a:gd name="connsiteX55" fmla="*/ 2506 w 10921"/>
              <a:gd name="connsiteY55" fmla="*/ 3993 h 10096"/>
              <a:gd name="connsiteX56" fmla="*/ 2280 w 10921"/>
              <a:gd name="connsiteY56" fmla="*/ 3908 h 10096"/>
              <a:gd name="connsiteX57" fmla="*/ 2059 w 10921"/>
              <a:gd name="connsiteY57" fmla="*/ 3821 h 10096"/>
              <a:gd name="connsiteX58" fmla="*/ 1848 w 10921"/>
              <a:gd name="connsiteY58" fmla="*/ 3728 h 10096"/>
              <a:gd name="connsiteX59" fmla="*/ 1645 w 10921"/>
              <a:gd name="connsiteY59" fmla="*/ 3623 h 10096"/>
              <a:gd name="connsiteX60" fmla="*/ 1447 w 10921"/>
              <a:gd name="connsiteY60" fmla="*/ 3512 h 10096"/>
              <a:gd name="connsiteX61" fmla="*/ 1249 w 10921"/>
              <a:gd name="connsiteY61" fmla="*/ 3395 h 10096"/>
              <a:gd name="connsiteX62" fmla="*/ 1066 w 10921"/>
              <a:gd name="connsiteY62" fmla="*/ 3269 h 10096"/>
              <a:gd name="connsiteX63" fmla="*/ 1066 w 10921"/>
              <a:gd name="connsiteY63" fmla="*/ 3269 h 10096"/>
              <a:gd name="connsiteX64" fmla="*/ 924 w 10921"/>
              <a:gd name="connsiteY64" fmla="*/ 3159 h 10096"/>
              <a:gd name="connsiteX65" fmla="*/ 791 w 10921"/>
              <a:gd name="connsiteY65" fmla="*/ 3048 h 10096"/>
              <a:gd name="connsiteX66" fmla="*/ 664 w 10921"/>
              <a:gd name="connsiteY66" fmla="*/ 2931 h 10096"/>
              <a:gd name="connsiteX67" fmla="*/ 559 w 10921"/>
              <a:gd name="connsiteY67" fmla="*/ 2816 h 10096"/>
              <a:gd name="connsiteX68" fmla="*/ 451 w 10921"/>
              <a:gd name="connsiteY68" fmla="*/ 2695 h 10096"/>
              <a:gd name="connsiteX69" fmla="*/ 361 w 10921"/>
              <a:gd name="connsiteY69" fmla="*/ 2568 h 10096"/>
              <a:gd name="connsiteX70" fmla="*/ 282 w 10921"/>
              <a:gd name="connsiteY70" fmla="*/ 2440 h 10096"/>
              <a:gd name="connsiteX71" fmla="*/ 206 w 10921"/>
              <a:gd name="connsiteY71" fmla="*/ 2313 h 10096"/>
              <a:gd name="connsiteX72" fmla="*/ 150 w 10921"/>
              <a:gd name="connsiteY72" fmla="*/ 2182 h 10096"/>
              <a:gd name="connsiteX73" fmla="*/ 99 w 10921"/>
              <a:gd name="connsiteY73" fmla="*/ 2042 h 10096"/>
              <a:gd name="connsiteX74" fmla="*/ 56 w 10921"/>
              <a:gd name="connsiteY74" fmla="*/ 1899 h 10096"/>
              <a:gd name="connsiteX75" fmla="*/ 28 w 10921"/>
              <a:gd name="connsiteY75" fmla="*/ 1756 h 10096"/>
              <a:gd name="connsiteX76" fmla="*/ 8 w 10921"/>
              <a:gd name="connsiteY76" fmla="*/ 1612 h 10096"/>
              <a:gd name="connsiteX77" fmla="*/ 0 w 10921"/>
              <a:gd name="connsiteY77" fmla="*/ 1462 h 10096"/>
              <a:gd name="connsiteX78" fmla="*/ 0 w 10921"/>
              <a:gd name="connsiteY78" fmla="*/ 1308 h 10096"/>
              <a:gd name="connsiteX79" fmla="*/ 13 w 10921"/>
              <a:gd name="connsiteY79" fmla="*/ 1154 h 10096"/>
              <a:gd name="connsiteX80" fmla="*/ 13 w 10921"/>
              <a:gd name="connsiteY80" fmla="*/ 1154 h 10096"/>
              <a:gd name="connsiteX81" fmla="*/ 36 w 10921"/>
              <a:gd name="connsiteY81" fmla="*/ 1012 h 10096"/>
              <a:gd name="connsiteX82" fmla="*/ 64 w 10921"/>
              <a:gd name="connsiteY82" fmla="*/ 868 h 10096"/>
              <a:gd name="connsiteX83" fmla="*/ 107 w 10921"/>
              <a:gd name="connsiteY83" fmla="*/ 723 h 10096"/>
              <a:gd name="connsiteX84" fmla="*/ 150 w 10921"/>
              <a:gd name="connsiteY84" fmla="*/ 585 h 10096"/>
              <a:gd name="connsiteX85" fmla="*/ 206 w 10921"/>
              <a:gd name="connsiteY85" fmla="*/ 448 h 10096"/>
              <a:gd name="connsiteX86" fmla="*/ 269 w 10921"/>
              <a:gd name="connsiteY86" fmla="*/ 308 h 10096"/>
              <a:gd name="connsiteX87" fmla="*/ 333 w 10921"/>
              <a:gd name="connsiteY87" fmla="*/ 177 h 10096"/>
              <a:gd name="connsiteX88" fmla="*/ 417 w 10921"/>
              <a:gd name="connsiteY88" fmla="*/ 44 h 10096"/>
              <a:gd name="connsiteX89" fmla="*/ 417 w 10921"/>
              <a:gd name="connsiteY89" fmla="*/ 44 h 10096"/>
              <a:gd name="connsiteX90" fmla="*/ 432 w 10921"/>
              <a:gd name="connsiteY90" fmla="*/ 0 h 10096"/>
              <a:gd name="connsiteX91" fmla="*/ 432 w 10921"/>
              <a:gd name="connsiteY91" fmla="*/ 0 h 10096"/>
              <a:gd name="connsiteX0" fmla="*/ 432 w 10017"/>
              <a:gd name="connsiteY0" fmla="*/ 0 h 10096"/>
              <a:gd name="connsiteX1" fmla="*/ 432 w 10017"/>
              <a:gd name="connsiteY1" fmla="*/ 0 h 10096"/>
              <a:gd name="connsiteX2" fmla="*/ 10000 w 10017"/>
              <a:gd name="connsiteY2" fmla="*/ 0 h 10096"/>
              <a:gd name="connsiteX3" fmla="*/ 10000 w 10017"/>
              <a:gd name="connsiteY3" fmla="*/ 10096 h 10096"/>
              <a:gd name="connsiteX4" fmla="*/ 9537 w 10017"/>
              <a:gd name="connsiteY4" fmla="*/ 9785 h 10096"/>
              <a:gd name="connsiteX5" fmla="*/ 9172 w 10017"/>
              <a:gd name="connsiteY5" fmla="*/ 9563 h 10096"/>
              <a:gd name="connsiteX6" fmla="*/ 8811 w 10017"/>
              <a:gd name="connsiteY6" fmla="*/ 9338 h 10096"/>
              <a:gd name="connsiteX7" fmla="*/ 8452 w 10017"/>
              <a:gd name="connsiteY7" fmla="*/ 9110 h 10096"/>
              <a:gd name="connsiteX8" fmla="*/ 8099 w 10017"/>
              <a:gd name="connsiteY8" fmla="*/ 8873 h 10096"/>
              <a:gd name="connsiteX9" fmla="*/ 8099 w 10017"/>
              <a:gd name="connsiteY9" fmla="*/ 8873 h 10096"/>
              <a:gd name="connsiteX10" fmla="*/ 7688 w 10017"/>
              <a:gd name="connsiteY10" fmla="*/ 8603 h 10096"/>
              <a:gd name="connsiteX11" fmla="*/ 7688 w 10017"/>
              <a:gd name="connsiteY11" fmla="*/ 8603 h 10096"/>
              <a:gd name="connsiteX12" fmla="*/ 7830 w 10017"/>
              <a:gd name="connsiteY12" fmla="*/ 8391 h 10096"/>
              <a:gd name="connsiteX13" fmla="*/ 7957 w 10017"/>
              <a:gd name="connsiteY13" fmla="*/ 8183 h 10096"/>
              <a:gd name="connsiteX14" fmla="*/ 7957 w 10017"/>
              <a:gd name="connsiteY14" fmla="*/ 8183 h 10096"/>
              <a:gd name="connsiteX15" fmla="*/ 8014 w 10017"/>
              <a:gd name="connsiteY15" fmla="*/ 8084 h 10096"/>
              <a:gd name="connsiteX16" fmla="*/ 8064 w 10017"/>
              <a:gd name="connsiteY16" fmla="*/ 7980 h 10096"/>
              <a:gd name="connsiteX17" fmla="*/ 8113 w 10017"/>
              <a:gd name="connsiteY17" fmla="*/ 7875 h 10096"/>
              <a:gd name="connsiteX18" fmla="*/ 8156 w 10017"/>
              <a:gd name="connsiteY18" fmla="*/ 7769 h 10096"/>
              <a:gd name="connsiteX19" fmla="*/ 8189 w 10017"/>
              <a:gd name="connsiteY19" fmla="*/ 7658 h 10096"/>
              <a:gd name="connsiteX20" fmla="*/ 8217 w 10017"/>
              <a:gd name="connsiteY20" fmla="*/ 7554 h 10096"/>
              <a:gd name="connsiteX21" fmla="*/ 8232 w 10017"/>
              <a:gd name="connsiteY21" fmla="*/ 7444 h 10096"/>
              <a:gd name="connsiteX22" fmla="*/ 8246 w 10017"/>
              <a:gd name="connsiteY22" fmla="*/ 7327 h 10096"/>
              <a:gd name="connsiteX23" fmla="*/ 8246 w 10017"/>
              <a:gd name="connsiteY23" fmla="*/ 7327 h 10096"/>
              <a:gd name="connsiteX24" fmla="*/ 8253 w 10017"/>
              <a:gd name="connsiteY24" fmla="*/ 7201 h 10096"/>
              <a:gd name="connsiteX25" fmla="*/ 8240 w 10017"/>
              <a:gd name="connsiteY25" fmla="*/ 7074 h 10096"/>
              <a:gd name="connsiteX26" fmla="*/ 8217 w 10017"/>
              <a:gd name="connsiteY26" fmla="*/ 6952 h 10096"/>
              <a:gd name="connsiteX27" fmla="*/ 8185 w 10017"/>
              <a:gd name="connsiteY27" fmla="*/ 6831 h 10096"/>
              <a:gd name="connsiteX28" fmla="*/ 8134 w 10017"/>
              <a:gd name="connsiteY28" fmla="*/ 6714 h 10096"/>
              <a:gd name="connsiteX29" fmla="*/ 8072 w 10017"/>
              <a:gd name="connsiteY29" fmla="*/ 6599 h 10096"/>
              <a:gd name="connsiteX30" fmla="*/ 7991 w 10017"/>
              <a:gd name="connsiteY30" fmla="*/ 6486 h 10096"/>
              <a:gd name="connsiteX31" fmla="*/ 7909 w 10017"/>
              <a:gd name="connsiteY31" fmla="*/ 6378 h 10096"/>
              <a:gd name="connsiteX32" fmla="*/ 7909 w 10017"/>
              <a:gd name="connsiteY32" fmla="*/ 6378 h 10096"/>
              <a:gd name="connsiteX33" fmla="*/ 7816 w 10017"/>
              <a:gd name="connsiteY33" fmla="*/ 6278 h 10096"/>
              <a:gd name="connsiteX34" fmla="*/ 7717 w 10017"/>
              <a:gd name="connsiteY34" fmla="*/ 6179 h 10096"/>
              <a:gd name="connsiteX35" fmla="*/ 7613 w 10017"/>
              <a:gd name="connsiteY35" fmla="*/ 6091 h 10096"/>
              <a:gd name="connsiteX36" fmla="*/ 7499 w 10017"/>
              <a:gd name="connsiteY36" fmla="*/ 6003 h 10096"/>
              <a:gd name="connsiteX37" fmla="*/ 7377 w 10017"/>
              <a:gd name="connsiteY37" fmla="*/ 5919 h 10096"/>
              <a:gd name="connsiteX38" fmla="*/ 7260 w 10017"/>
              <a:gd name="connsiteY38" fmla="*/ 5841 h 10096"/>
              <a:gd name="connsiteX39" fmla="*/ 7131 w 10017"/>
              <a:gd name="connsiteY39" fmla="*/ 5765 h 10096"/>
              <a:gd name="connsiteX40" fmla="*/ 7005 w 10017"/>
              <a:gd name="connsiteY40" fmla="*/ 5693 h 10096"/>
              <a:gd name="connsiteX41" fmla="*/ 7005 w 10017"/>
              <a:gd name="connsiteY41" fmla="*/ 5693 h 10096"/>
              <a:gd name="connsiteX42" fmla="*/ 6814 w 10017"/>
              <a:gd name="connsiteY42" fmla="*/ 5587 h 10096"/>
              <a:gd name="connsiteX43" fmla="*/ 6624 w 10017"/>
              <a:gd name="connsiteY43" fmla="*/ 5493 h 10096"/>
              <a:gd name="connsiteX44" fmla="*/ 6433 w 10017"/>
              <a:gd name="connsiteY44" fmla="*/ 5400 h 10096"/>
              <a:gd name="connsiteX45" fmla="*/ 6236 w 10017"/>
              <a:gd name="connsiteY45" fmla="*/ 5313 h 10096"/>
              <a:gd name="connsiteX46" fmla="*/ 6038 w 10017"/>
              <a:gd name="connsiteY46" fmla="*/ 5229 h 10096"/>
              <a:gd name="connsiteX47" fmla="*/ 5834 w 10017"/>
              <a:gd name="connsiteY47" fmla="*/ 5147 h 10096"/>
              <a:gd name="connsiteX48" fmla="*/ 5628 w 10017"/>
              <a:gd name="connsiteY48" fmla="*/ 5070 h 10096"/>
              <a:gd name="connsiteX49" fmla="*/ 5426 w 10017"/>
              <a:gd name="connsiteY49" fmla="*/ 4992 h 10096"/>
              <a:gd name="connsiteX50" fmla="*/ 5426 w 10017"/>
              <a:gd name="connsiteY50" fmla="*/ 4992 h 10096"/>
              <a:gd name="connsiteX51" fmla="*/ 4747 w 10017"/>
              <a:gd name="connsiteY51" fmla="*/ 4760 h 10096"/>
              <a:gd name="connsiteX52" fmla="*/ 4077 w 10017"/>
              <a:gd name="connsiteY52" fmla="*/ 4528 h 10096"/>
              <a:gd name="connsiteX53" fmla="*/ 2731 w 10017"/>
              <a:gd name="connsiteY53" fmla="*/ 4070 h 10096"/>
              <a:gd name="connsiteX54" fmla="*/ 2731 w 10017"/>
              <a:gd name="connsiteY54" fmla="*/ 4070 h 10096"/>
              <a:gd name="connsiteX55" fmla="*/ 2506 w 10017"/>
              <a:gd name="connsiteY55" fmla="*/ 3993 h 10096"/>
              <a:gd name="connsiteX56" fmla="*/ 2280 w 10017"/>
              <a:gd name="connsiteY56" fmla="*/ 3908 h 10096"/>
              <a:gd name="connsiteX57" fmla="*/ 2059 w 10017"/>
              <a:gd name="connsiteY57" fmla="*/ 3821 h 10096"/>
              <a:gd name="connsiteX58" fmla="*/ 1848 w 10017"/>
              <a:gd name="connsiteY58" fmla="*/ 3728 h 10096"/>
              <a:gd name="connsiteX59" fmla="*/ 1645 w 10017"/>
              <a:gd name="connsiteY59" fmla="*/ 3623 h 10096"/>
              <a:gd name="connsiteX60" fmla="*/ 1447 w 10017"/>
              <a:gd name="connsiteY60" fmla="*/ 3512 h 10096"/>
              <a:gd name="connsiteX61" fmla="*/ 1249 w 10017"/>
              <a:gd name="connsiteY61" fmla="*/ 3395 h 10096"/>
              <a:gd name="connsiteX62" fmla="*/ 1066 w 10017"/>
              <a:gd name="connsiteY62" fmla="*/ 3269 h 10096"/>
              <a:gd name="connsiteX63" fmla="*/ 1066 w 10017"/>
              <a:gd name="connsiteY63" fmla="*/ 3269 h 10096"/>
              <a:gd name="connsiteX64" fmla="*/ 924 w 10017"/>
              <a:gd name="connsiteY64" fmla="*/ 3159 h 10096"/>
              <a:gd name="connsiteX65" fmla="*/ 791 w 10017"/>
              <a:gd name="connsiteY65" fmla="*/ 3048 h 10096"/>
              <a:gd name="connsiteX66" fmla="*/ 664 w 10017"/>
              <a:gd name="connsiteY66" fmla="*/ 2931 h 10096"/>
              <a:gd name="connsiteX67" fmla="*/ 559 w 10017"/>
              <a:gd name="connsiteY67" fmla="*/ 2816 h 10096"/>
              <a:gd name="connsiteX68" fmla="*/ 451 w 10017"/>
              <a:gd name="connsiteY68" fmla="*/ 2695 h 10096"/>
              <a:gd name="connsiteX69" fmla="*/ 361 w 10017"/>
              <a:gd name="connsiteY69" fmla="*/ 2568 h 10096"/>
              <a:gd name="connsiteX70" fmla="*/ 282 w 10017"/>
              <a:gd name="connsiteY70" fmla="*/ 2440 h 10096"/>
              <a:gd name="connsiteX71" fmla="*/ 206 w 10017"/>
              <a:gd name="connsiteY71" fmla="*/ 2313 h 10096"/>
              <a:gd name="connsiteX72" fmla="*/ 150 w 10017"/>
              <a:gd name="connsiteY72" fmla="*/ 2182 h 10096"/>
              <a:gd name="connsiteX73" fmla="*/ 99 w 10017"/>
              <a:gd name="connsiteY73" fmla="*/ 2042 h 10096"/>
              <a:gd name="connsiteX74" fmla="*/ 56 w 10017"/>
              <a:gd name="connsiteY74" fmla="*/ 1899 h 10096"/>
              <a:gd name="connsiteX75" fmla="*/ 28 w 10017"/>
              <a:gd name="connsiteY75" fmla="*/ 1756 h 10096"/>
              <a:gd name="connsiteX76" fmla="*/ 8 w 10017"/>
              <a:gd name="connsiteY76" fmla="*/ 1612 h 10096"/>
              <a:gd name="connsiteX77" fmla="*/ 0 w 10017"/>
              <a:gd name="connsiteY77" fmla="*/ 1462 h 10096"/>
              <a:gd name="connsiteX78" fmla="*/ 0 w 10017"/>
              <a:gd name="connsiteY78" fmla="*/ 1308 h 10096"/>
              <a:gd name="connsiteX79" fmla="*/ 13 w 10017"/>
              <a:gd name="connsiteY79" fmla="*/ 1154 h 10096"/>
              <a:gd name="connsiteX80" fmla="*/ 13 w 10017"/>
              <a:gd name="connsiteY80" fmla="*/ 1154 h 10096"/>
              <a:gd name="connsiteX81" fmla="*/ 36 w 10017"/>
              <a:gd name="connsiteY81" fmla="*/ 1012 h 10096"/>
              <a:gd name="connsiteX82" fmla="*/ 64 w 10017"/>
              <a:gd name="connsiteY82" fmla="*/ 868 h 10096"/>
              <a:gd name="connsiteX83" fmla="*/ 107 w 10017"/>
              <a:gd name="connsiteY83" fmla="*/ 723 h 10096"/>
              <a:gd name="connsiteX84" fmla="*/ 150 w 10017"/>
              <a:gd name="connsiteY84" fmla="*/ 585 h 10096"/>
              <a:gd name="connsiteX85" fmla="*/ 206 w 10017"/>
              <a:gd name="connsiteY85" fmla="*/ 448 h 10096"/>
              <a:gd name="connsiteX86" fmla="*/ 269 w 10017"/>
              <a:gd name="connsiteY86" fmla="*/ 308 h 10096"/>
              <a:gd name="connsiteX87" fmla="*/ 333 w 10017"/>
              <a:gd name="connsiteY87" fmla="*/ 177 h 10096"/>
              <a:gd name="connsiteX88" fmla="*/ 417 w 10017"/>
              <a:gd name="connsiteY88" fmla="*/ 44 h 10096"/>
              <a:gd name="connsiteX89" fmla="*/ 417 w 10017"/>
              <a:gd name="connsiteY89" fmla="*/ 44 h 10096"/>
              <a:gd name="connsiteX90" fmla="*/ 432 w 10017"/>
              <a:gd name="connsiteY90" fmla="*/ 0 h 10096"/>
              <a:gd name="connsiteX91" fmla="*/ 432 w 10017"/>
              <a:gd name="connsiteY91" fmla="*/ 0 h 10096"/>
              <a:gd name="connsiteX0" fmla="*/ 432 w 10017"/>
              <a:gd name="connsiteY0" fmla="*/ 0 h 10141"/>
              <a:gd name="connsiteX1" fmla="*/ 432 w 10017"/>
              <a:gd name="connsiteY1" fmla="*/ 0 h 10141"/>
              <a:gd name="connsiteX2" fmla="*/ 10000 w 10017"/>
              <a:gd name="connsiteY2" fmla="*/ 0 h 10141"/>
              <a:gd name="connsiteX3" fmla="*/ 10000 w 10017"/>
              <a:gd name="connsiteY3" fmla="*/ 10096 h 10141"/>
              <a:gd name="connsiteX4" fmla="*/ 9537 w 10017"/>
              <a:gd name="connsiteY4" fmla="*/ 9785 h 10141"/>
              <a:gd name="connsiteX5" fmla="*/ 9172 w 10017"/>
              <a:gd name="connsiteY5" fmla="*/ 9563 h 10141"/>
              <a:gd name="connsiteX6" fmla="*/ 8811 w 10017"/>
              <a:gd name="connsiteY6" fmla="*/ 9338 h 10141"/>
              <a:gd name="connsiteX7" fmla="*/ 8452 w 10017"/>
              <a:gd name="connsiteY7" fmla="*/ 9110 h 10141"/>
              <a:gd name="connsiteX8" fmla="*/ 8099 w 10017"/>
              <a:gd name="connsiteY8" fmla="*/ 8873 h 10141"/>
              <a:gd name="connsiteX9" fmla="*/ 8099 w 10017"/>
              <a:gd name="connsiteY9" fmla="*/ 8873 h 10141"/>
              <a:gd name="connsiteX10" fmla="*/ 7688 w 10017"/>
              <a:gd name="connsiteY10" fmla="*/ 8603 h 10141"/>
              <a:gd name="connsiteX11" fmla="*/ 7688 w 10017"/>
              <a:gd name="connsiteY11" fmla="*/ 8603 h 10141"/>
              <a:gd name="connsiteX12" fmla="*/ 7830 w 10017"/>
              <a:gd name="connsiteY12" fmla="*/ 8391 h 10141"/>
              <a:gd name="connsiteX13" fmla="*/ 7957 w 10017"/>
              <a:gd name="connsiteY13" fmla="*/ 8183 h 10141"/>
              <a:gd name="connsiteX14" fmla="*/ 7957 w 10017"/>
              <a:gd name="connsiteY14" fmla="*/ 8183 h 10141"/>
              <a:gd name="connsiteX15" fmla="*/ 8014 w 10017"/>
              <a:gd name="connsiteY15" fmla="*/ 8084 h 10141"/>
              <a:gd name="connsiteX16" fmla="*/ 8064 w 10017"/>
              <a:gd name="connsiteY16" fmla="*/ 7980 h 10141"/>
              <a:gd name="connsiteX17" fmla="*/ 8113 w 10017"/>
              <a:gd name="connsiteY17" fmla="*/ 7875 h 10141"/>
              <a:gd name="connsiteX18" fmla="*/ 8156 w 10017"/>
              <a:gd name="connsiteY18" fmla="*/ 7769 h 10141"/>
              <a:gd name="connsiteX19" fmla="*/ 8189 w 10017"/>
              <a:gd name="connsiteY19" fmla="*/ 7658 h 10141"/>
              <a:gd name="connsiteX20" fmla="*/ 8217 w 10017"/>
              <a:gd name="connsiteY20" fmla="*/ 7554 h 10141"/>
              <a:gd name="connsiteX21" fmla="*/ 8232 w 10017"/>
              <a:gd name="connsiteY21" fmla="*/ 7444 h 10141"/>
              <a:gd name="connsiteX22" fmla="*/ 8246 w 10017"/>
              <a:gd name="connsiteY22" fmla="*/ 7327 h 10141"/>
              <a:gd name="connsiteX23" fmla="*/ 8246 w 10017"/>
              <a:gd name="connsiteY23" fmla="*/ 7327 h 10141"/>
              <a:gd name="connsiteX24" fmla="*/ 8253 w 10017"/>
              <a:gd name="connsiteY24" fmla="*/ 7201 h 10141"/>
              <a:gd name="connsiteX25" fmla="*/ 8240 w 10017"/>
              <a:gd name="connsiteY25" fmla="*/ 7074 h 10141"/>
              <a:gd name="connsiteX26" fmla="*/ 8217 w 10017"/>
              <a:gd name="connsiteY26" fmla="*/ 6952 h 10141"/>
              <a:gd name="connsiteX27" fmla="*/ 8185 w 10017"/>
              <a:gd name="connsiteY27" fmla="*/ 6831 h 10141"/>
              <a:gd name="connsiteX28" fmla="*/ 8134 w 10017"/>
              <a:gd name="connsiteY28" fmla="*/ 6714 h 10141"/>
              <a:gd name="connsiteX29" fmla="*/ 8072 w 10017"/>
              <a:gd name="connsiteY29" fmla="*/ 6599 h 10141"/>
              <a:gd name="connsiteX30" fmla="*/ 7991 w 10017"/>
              <a:gd name="connsiteY30" fmla="*/ 6486 h 10141"/>
              <a:gd name="connsiteX31" fmla="*/ 7909 w 10017"/>
              <a:gd name="connsiteY31" fmla="*/ 6378 h 10141"/>
              <a:gd name="connsiteX32" fmla="*/ 7909 w 10017"/>
              <a:gd name="connsiteY32" fmla="*/ 6378 h 10141"/>
              <a:gd name="connsiteX33" fmla="*/ 7816 w 10017"/>
              <a:gd name="connsiteY33" fmla="*/ 6278 h 10141"/>
              <a:gd name="connsiteX34" fmla="*/ 7717 w 10017"/>
              <a:gd name="connsiteY34" fmla="*/ 6179 h 10141"/>
              <a:gd name="connsiteX35" fmla="*/ 7613 w 10017"/>
              <a:gd name="connsiteY35" fmla="*/ 6091 h 10141"/>
              <a:gd name="connsiteX36" fmla="*/ 7499 w 10017"/>
              <a:gd name="connsiteY36" fmla="*/ 6003 h 10141"/>
              <a:gd name="connsiteX37" fmla="*/ 7377 w 10017"/>
              <a:gd name="connsiteY37" fmla="*/ 5919 h 10141"/>
              <a:gd name="connsiteX38" fmla="*/ 7260 w 10017"/>
              <a:gd name="connsiteY38" fmla="*/ 5841 h 10141"/>
              <a:gd name="connsiteX39" fmla="*/ 7131 w 10017"/>
              <a:gd name="connsiteY39" fmla="*/ 5765 h 10141"/>
              <a:gd name="connsiteX40" fmla="*/ 7005 w 10017"/>
              <a:gd name="connsiteY40" fmla="*/ 5693 h 10141"/>
              <a:gd name="connsiteX41" fmla="*/ 7005 w 10017"/>
              <a:gd name="connsiteY41" fmla="*/ 5693 h 10141"/>
              <a:gd name="connsiteX42" fmla="*/ 6814 w 10017"/>
              <a:gd name="connsiteY42" fmla="*/ 5587 h 10141"/>
              <a:gd name="connsiteX43" fmla="*/ 6624 w 10017"/>
              <a:gd name="connsiteY43" fmla="*/ 5493 h 10141"/>
              <a:gd name="connsiteX44" fmla="*/ 6433 w 10017"/>
              <a:gd name="connsiteY44" fmla="*/ 5400 h 10141"/>
              <a:gd name="connsiteX45" fmla="*/ 6236 w 10017"/>
              <a:gd name="connsiteY45" fmla="*/ 5313 h 10141"/>
              <a:gd name="connsiteX46" fmla="*/ 6038 w 10017"/>
              <a:gd name="connsiteY46" fmla="*/ 5229 h 10141"/>
              <a:gd name="connsiteX47" fmla="*/ 5834 w 10017"/>
              <a:gd name="connsiteY47" fmla="*/ 5147 h 10141"/>
              <a:gd name="connsiteX48" fmla="*/ 5628 w 10017"/>
              <a:gd name="connsiteY48" fmla="*/ 5070 h 10141"/>
              <a:gd name="connsiteX49" fmla="*/ 5426 w 10017"/>
              <a:gd name="connsiteY49" fmla="*/ 4992 h 10141"/>
              <a:gd name="connsiteX50" fmla="*/ 5426 w 10017"/>
              <a:gd name="connsiteY50" fmla="*/ 4992 h 10141"/>
              <a:gd name="connsiteX51" fmla="*/ 4747 w 10017"/>
              <a:gd name="connsiteY51" fmla="*/ 4760 h 10141"/>
              <a:gd name="connsiteX52" fmla="*/ 4077 w 10017"/>
              <a:gd name="connsiteY52" fmla="*/ 4528 h 10141"/>
              <a:gd name="connsiteX53" fmla="*/ 2731 w 10017"/>
              <a:gd name="connsiteY53" fmla="*/ 4070 h 10141"/>
              <a:gd name="connsiteX54" fmla="*/ 2731 w 10017"/>
              <a:gd name="connsiteY54" fmla="*/ 4070 h 10141"/>
              <a:gd name="connsiteX55" fmla="*/ 2506 w 10017"/>
              <a:gd name="connsiteY55" fmla="*/ 3993 h 10141"/>
              <a:gd name="connsiteX56" fmla="*/ 2280 w 10017"/>
              <a:gd name="connsiteY56" fmla="*/ 3908 h 10141"/>
              <a:gd name="connsiteX57" fmla="*/ 2059 w 10017"/>
              <a:gd name="connsiteY57" fmla="*/ 3821 h 10141"/>
              <a:gd name="connsiteX58" fmla="*/ 1848 w 10017"/>
              <a:gd name="connsiteY58" fmla="*/ 3728 h 10141"/>
              <a:gd name="connsiteX59" fmla="*/ 1645 w 10017"/>
              <a:gd name="connsiteY59" fmla="*/ 3623 h 10141"/>
              <a:gd name="connsiteX60" fmla="*/ 1447 w 10017"/>
              <a:gd name="connsiteY60" fmla="*/ 3512 h 10141"/>
              <a:gd name="connsiteX61" fmla="*/ 1249 w 10017"/>
              <a:gd name="connsiteY61" fmla="*/ 3395 h 10141"/>
              <a:gd name="connsiteX62" fmla="*/ 1066 w 10017"/>
              <a:gd name="connsiteY62" fmla="*/ 3269 h 10141"/>
              <a:gd name="connsiteX63" fmla="*/ 1066 w 10017"/>
              <a:gd name="connsiteY63" fmla="*/ 3269 h 10141"/>
              <a:gd name="connsiteX64" fmla="*/ 924 w 10017"/>
              <a:gd name="connsiteY64" fmla="*/ 3159 h 10141"/>
              <a:gd name="connsiteX65" fmla="*/ 791 w 10017"/>
              <a:gd name="connsiteY65" fmla="*/ 3048 h 10141"/>
              <a:gd name="connsiteX66" fmla="*/ 664 w 10017"/>
              <a:gd name="connsiteY66" fmla="*/ 2931 h 10141"/>
              <a:gd name="connsiteX67" fmla="*/ 559 w 10017"/>
              <a:gd name="connsiteY67" fmla="*/ 2816 h 10141"/>
              <a:gd name="connsiteX68" fmla="*/ 451 w 10017"/>
              <a:gd name="connsiteY68" fmla="*/ 2695 h 10141"/>
              <a:gd name="connsiteX69" fmla="*/ 361 w 10017"/>
              <a:gd name="connsiteY69" fmla="*/ 2568 h 10141"/>
              <a:gd name="connsiteX70" fmla="*/ 282 w 10017"/>
              <a:gd name="connsiteY70" fmla="*/ 2440 h 10141"/>
              <a:gd name="connsiteX71" fmla="*/ 206 w 10017"/>
              <a:gd name="connsiteY71" fmla="*/ 2313 h 10141"/>
              <a:gd name="connsiteX72" fmla="*/ 150 w 10017"/>
              <a:gd name="connsiteY72" fmla="*/ 2182 h 10141"/>
              <a:gd name="connsiteX73" fmla="*/ 99 w 10017"/>
              <a:gd name="connsiteY73" fmla="*/ 2042 h 10141"/>
              <a:gd name="connsiteX74" fmla="*/ 56 w 10017"/>
              <a:gd name="connsiteY74" fmla="*/ 1899 h 10141"/>
              <a:gd name="connsiteX75" fmla="*/ 28 w 10017"/>
              <a:gd name="connsiteY75" fmla="*/ 1756 h 10141"/>
              <a:gd name="connsiteX76" fmla="*/ 8 w 10017"/>
              <a:gd name="connsiteY76" fmla="*/ 1612 h 10141"/>
              <a:gd name="connsiteX77" fmla="*/ 0 w 10017"/>
              <a:gd name="connsiteY77" fmla="*/ 1462 h 10141"/>
              <a:gd name="connsiteX78" fmla="*/ 0 w 10017"/>
              <a:gd name="connsiteY78" fmla="*/ 1308 h 10141"/>
              <a:gd name="connsiteX79" fmla="*/ 13 w 10017"/>
              <a:gd name="connsiteY79" fmla="*/ 1154 h 10141"/>
              <a:gd name="connsiteX80" fmla="*/ 13 w 10017"/>
              <a:gd name="connsiteY80" fmla="*/ 1154 h 10141"/>
              <a:gd name="connsiteX81" fmla="*/ 36 w 10017"/>
              <a:gd name="connsiteY81" fmla="*/ 1012 h 10141"/>
              <a:gd name="connsiteX82" fmla="*/ 64 w 10017"/>
              <a:gd name="connsiteY82" fmla="*/ 868 h 10141"/>
              <a:gd name="connsiteX83" fmla="*/ 107 w 10017"/>
              <a:gd name="connsiteY83" fmla="*/ 723 h 10141"/>
              <a:gd name="connsiteX84" fmla="*/ 150 w 10017"/>
              <a:gd name="connsiteY84" fmla="*/ 585 h 10141"/>
              <a:gd name="connsiteX85" fmla="*/ 206 w 10017"/>
              <a:gd name="connsiteY85" fmla="*/ 448 h 10141"/>
              <a:gd name="connsiteX86" fmla="*/ 269 w 10017"/>
              <a:gd name="connsiteY86" fmla="*/ 308 h 10141"/>
              <a:gd name="connsiteX87" fmla="*/ 333 w 10017"/>
              <a:gd name="connsiteY87" fmla="*/ 177 h 10141"/>
              <a:gd name="connsiteX88" fmla="*/ 417 w 10017"/>
              <a:gd name="connsiteY88" fmla="*/ 44 h 10141"/>
              <a:gd name="connsiteX89" fmla="*/ 417 w 10017"/>
              <a:gd name="connsiteY89" fmla="*/ 44 h 10141"/>
              <a:gd name="connsiteX90" fmla="*/ 432 w 10017"/>
              <a:gd name="connsiteY90" fmla="*/ 0 h 10141"/>
              <a:gd name="connsiteX91" fmla="*/ 432 w 10017"/>
              <a:gd name="connsiteY91" fmla="*/ 0 h 10141"/>
              <a:gd name="connsiteX0" fmla="*/ 432 w 10017"/>
              <a:gd name="connsiteY0" fmla="*/ 0 h 10096"/>
              <a:gd name="connsiteX1" fmla="*/ 432 w 10017"/>
              <a:gd name="connsiteY1" fmla="*/ 0 h 10096"/>
              <a:gd name="connsiteX2" fmla="*/ 10000 w 10017"/>
              <a:gd name="connsiteY2" fmla="*/ 0 h 10096"/>
              <a:gd name="connsiteX3" fmla="*/ 10000 w 10017"/>
              <a:gd name="connsiteY3" fmla="*/ 10096 h 10096"/>
              <a:gd name="connsiteX4" fmla="*/ 9537 w 10017"/>
              <a:gd name="connsiteY4" fmla="*/ 9785 h 10096"/>
              <a:gd name="connsiteX5" fmla="*/ 9172 w 10017"/>
              <a:gd name="connsiteY5" fmla="*/ 9563 h 10096"/>
              <a:gd name="connsiteX6" fmla="*/ 8811 w 10017"/>
              <a:gd name="connsiteY6" fmla="*/ 9338 h 10096"/>
              <a:gd name="connsiteX7" fmla="*/ 8452 w 10017"/>
              <a:gd name="connsiteY7" fmla="*/ 9110 h 10096"/>
              <a:gd name="connsiteX8" fmla="*/ 8099 w 10017"/>
              <a:gd name="connsiteY8" fmla="*/ 8873 h 10096"/>
              <a:gd name="connsiteX9" fmla="*/ 8099 w 10017"/>
              <a:gd name="connsiteY9" fmla="*/ 8873 h 10096"/>
              <a:gd name="connsiteX10" fmla="*/ 7688 w 10017"/>
              <a:gd name="connsiteY10" fmla="*/ 8603 h 10096"/>
              <a:gd name="connsiteX11" fmla="*/ 7688 w 10017"/>
              <a:gd name="connsiteY11" fmla="*/ 8603 h 10096"/>
              <a:gd name="connsiteX12" fmla="*/ 7830 w 10017"/>
              <a:gd name="connsiteY12" fmla="*/ 8391 h 10096"/>
              <a:gd name="connsiteX13" fmla="*/ 7957 w 10017"/>
              <a:gd name="connsiteY13" fmla="*/ 8183 h 10096"/>
              <a:gd name="connsiteX14" fmla="*/ 7957 w 10017"/>
              <a:gd name="connsiteY14" fmla="*/ 8183 h 10096"/>
              <a:gd name="connsiteX15" fmla="*/ 8014 w 10017"/>
              <a:gd name="connsiteY15" fmla="*/ 8084 h 10096"/>
              <a:gd name="connsiteX16" fmla="*/ 8064 w 10017"/>
              <a:gd name="connsiteY16" fmla="*/ 7980 h 10096"/>
              <a:gd name="connsiteX17" fmla="*/ 8113 w 10017"/>
              <a:gd name="connsiteY17" fmla="*/ 7875 h 10096"/>
              <a:gd name="connsiteX18" fmla="*/ 8156 w 10017"/>
              <a:gd name="connsiteY18" fmla="*/ 7769 h 10096"/>
              <a:gd name="connsiteX19" fmla="*/ 8189 w 10017"/>
              <a:gd name="connsiteY19" fmla="*/ 7658 h 10096"/>
              <a:gd name="connsiteX20" fmla="*/ 8217 w 10017"/>
              <a:gd name="connsiteY20" fmla="*/ 7554 h 10096"/>
              <a:gd name="connsiteX21" fmla="*/ 8232 w 10017"/>
              <a:gd name="connsiteY21" fmla="*/ 7444 h 10096"/>
              <a:gd name="connsiteX22" fmla="*/ 8246 w 10017"/>
              <a:gd name="connsiteY22" fmla="*/ 7327 h 10096"/>
              <a:gd name="connsiteX23" fmla="*/ 8246 w 10017"/>
              <a:gd name="connsiteY23" fmla="*/ 7327 h 10096"/>
              <a:gd name="connsiteX24" fmla="*/ 8253 w 10017"/>
              <a:gd name="connsiteY24" fmla="*/ 7201 h 10096"/>
              <a:gd name="connsiteX25" fmla="*/ 8240 w 10017"/>
              <a:gd name="connsiteY25" fmla="*/ 7074 h 10096"/>
              <a:gd name="connsiteX26" fmla="*/ 8217 w 10017"/>
              <a:gd name="connsiteY26" fmla="*/ 6952 h 10096"/>
              <a:gd name="connsiteX27" fmla="*/ 8185 w 10017"/>
              <a:gd name="connsiteY27" fmla="*/ 6831 h 10096"/>
              <a:gd name="connsiteX28" fmla="*/ 8134 w 10017"/>
              <a:gd name="connsiteY28" fmla="*/ 6714 h 10096"/>
              <a:gd name="connsiteX29" fmla="*/ 8072 w 10017"/>
              <a:gd name="connsiteY29" fmla="*/ 6599 h 10096"/>
              <a:gd name="connsiteX30" fmla="*/ 7991 w 10017"/>
              <a:gd name="connsiteY30" fmla="*/ 6486 h 10096"/>
              <a:gd name="connsiteX31" fmla="*/ 7909 w 10017"/>
              <a:gd name="connsiteY31" fmla="*/ 6378 h 10096"/>
              <a:gd name="connsiteX32" fmla="*/ 7909 w 10017"/>
              <a:gd name="connsiteY32" fmla="*/ 6378 h 10096"/>
              <a:gd name="connsiteX33" fmla="*/ 7816 w 10017"/>
              <a:gd name="connsiteY33" fmla="*/ 6278 h 10096"/>
              <a:gd name="connsiteX34" fmla="*/ 7717 w 10017"/>
              <a:gd name="connsiteY34" fmla="*/ 6179 h 10096"/>
              <a:gd name="connsiteX35" fmla="*/ 7613 w 10017"/>
              <a:gd name="connsiteY35" fmla="*/ 6091 h 10096"/>
              <a:gd name="connsiteX36" fmla="*/ 7499 w 10017"/>
              <a:gd name="connsiteY36" fmla="*/ 6003 h 10096"/>
              <a:gd name="connsiteX37" fmla="*/ 7377 w 10017"/>
              <a:gd name="connsiteY37" fmla="*/ 5919 h 10096"/>
              <a:gd name="connsiteX38" fmla="*/ 7260 w 10017"/>
              <a:gd name="connsiteY38" fmla="*/ 5841 h 10096"/>
              <a:gd name="connsiteX39" fmla="*/ 7131 w 10017"/>
              <a:gd name="connsiteY39" fmla="*/ 5765 h 10096"/>
              <a:gd name="connsiteX40" fmla="*/ 7005 w 10017"/>
              <a:gd name="connsiteY40" fmla="*/ 5693 h 10096"/>
              <a:gd name="connsiteX41" fmla="*/ 7005 w 10017"/>
              <a:gd name="connsiteY41" fmla="*/ 5693 h 10096"/>
              <a:gd name="connsiteX42" fmla="*/ 6814 w 10017"/>
              <a:gd name="connsiteY42" fmla="*/ 5587 h 10096"/>
              <a:gd name="connsiteX43" fmla="*/ 6624 w 10017"/>
              <a:gd name="connsiteY43" fmla="*/ 5493 h 10096"/>
              <a:gd name="connsiteX44" fmla="*/ 6433 w 10017"/>
              <a:gd name="connsiteY44" fmla="*/ 5400 h 10096"/>
              <a:gd name="connsiteX45" fmla="*/ 6236 w 10017"/>
              <a:gd name="connsiteY45" fmla="*/ 5313 h 10096"/>
              <a:gd name="connsiteX46" fmla="*/ 6038 w 10017"/>
              <a:gd name="connsiteY46" fmla="*/ 5229 h 10096"/>
              <a:gd name="connsiteX47" fmla="*/ 5834 w 10017"/>
              <a:gd name="connsiteY47" fmla="*/ 5147 h 10096"/>
              <a:gd name="connsiteX48" fmla="*/ 5628 w 10017"/>
              <a:gd name="connsiteY48" fmla="*/ 5070 h 10096"/>
              <a:gd name="connsiteX49" fmla="*/ 5426 w 10017"/>
              <a:gd name="connsiteY49" fmla="*/ 4992 h 10096"/>
              <a:gd name="connsiteX50" fmla="*/ 5426 w 10017"/>
              <a:gd name="connsiteY50" fmla="*/ 4992 h 10096"/>
              <a:gd name="connsiteX51" fmla="*/ 4747 w 10017"/>
              <a:gd name="connsiteY51" fmla="*/ 4760 h 10096"/>
              <a:gd name="connsiteX52" fmla="*/ 4077 w 10017"/>
              <a:gd name="connsiteY52" fmla="*/ 4528 h 10096"/>
              <a:gd name="connsiteX53" fmla="*/ 2731 w 10017"/>
              <a:gd name="connsiteY53" fmla="*/ 4070 h 10096"/>
              <a:gd name="connsiteX54" fmla="*/ 2731 w 10017"/>
              <a:gd name="connsiteY54" fmla="*/ 4070 h 10096"/>
              <a:gd name="connsiteX55" fmla="*/ 2506 w 10017"/>
              <a:gd name="connsiteY55" fmla="*/ 3993 h 10096"/>
              <a:gd name="connsiteX56" fmla="*/ 2280 w 10017"/>
              <a:gd name="connsiteY56" fmla="*/ 3908 h 10096"/>
              <a:gd name="connsiteX57" fmla="*/ 2059 w 10017"/>
              <a:gd name="connsiteY57" fmla="*/ 3821 h 10096"/>
              <a:gd name="connsiteX58" fmla="*/ 1848 w 10017"/>
              <a:gd name="connsiteY58" fmla="*/ 3728 h 10096"/>
              <a:gd name="connsiteX59" fmla="*/ 1645 w 10017"/>
              <a:gd name="connsiteY59" fmla="*/ 3623 h 10096"/>
              <a:gd name="connsiteX60" fmla="*/ 1447 w 10017"/>
              <a:gd name="connsiteY60" fmla="*/ 3512 h 10096"/>
              <a:gd name="connsiteX61" fmla="*/ 1249 w 10017"/>
              <a:gd name="connsiteY61" fmla="*/ 3395 h 10096"/>
              <a:gd name="connsiteX62" fmla="*/ 1066 w 10017"/>
              <a:gd name="connsiteY62" fmla="*/ 3269 h 10096"/>
              <a:gd name="connsiteX63" fmla="*/ 1066 w 10017"/>
              <a:gd name="connsiteY63" fmla="*/ 3269 h 10096"/>
              <a:gd name="connsiteX64" fmla="*/ 924 w 10017"/>
              <a:gd name="connsiteY64" fmla="*/ 3159 h 10096"/>
              <a:gd name="connsiteX65" fmla="*/ 791 w 10017"/>
              <a:gd name="connsiteY65" fmla="*/ 3048 h 10096"/>
              <a:gd name="connsiteX66" fmla="*/ 664 w 10017"/>
              <a:gd name="connsiteY66" fmla="*/ 2931 h 10096"/>
              <a:gd name="connsiteX67" fmla="*/ 559 w 10017"/>
              <a:gd name="connsiteY67" fmla="*/ 2816 h 10096"/>
              <a:gd name="connsiteX68" fmla="*/ 451 w 10017"/>
              <a:gd name="connsiteY68" fmla="*/ 2695 h 10096"/>
              <a:gd name="connsiteX69" fmla="*/ 361 w 10017"/>
              <a:gd name="connsiteY69" fmla="*/ 2568 h 10096"/>
              <a:gd name="connsiteX70" fmla="*/ 282 w 10017"/>
              <a:gd name="connsiteY70" fmla="*/ 2440 h 10096"/>
              <a:gd name="connsiteX71" fmla="*/ 206 w 10017"/>
              <a:gd name="connsiteY71" fmla="*/ 2313 h 10096"/>
              <a:gd name="connsiteX72" fmla="*/ 150 w 10017"/>
              <a:gd name="connsiteY72" fmla="*/ 2182 h 10096"/>
              <a:gd name="connsiteX73" fmla="*/ 99 w 10017"/>
              <a:gd name="connsiteY73" fmla="*/ 2042 h 10096"/>
              <a:gd name="connsiteX74" fmla="*/ 56 w 10017"/>
              <a:gd name="connsiteY74" fmla="*/ 1899 h 10096"/>
              <a:gd name="connsiteX75" fmla="*/ 28 w 10017"/>
              <a:gd name="connsiteY75" fmla="*/ 1756 h 10096"/>
              <a:gd name="connsiteX76" fmla="*/ 8 w 10017"/>
              <a:gd name="connsiteY76" fmla="*/ 1612 h 10096"/>
              <a:gd name="connsiteX77" fmla="*/ 0 w 10017"/>
              <a:gd name="connsiteY77" fmla="*/ 1462 h 10096"/>
              <a:gd name="connsiteX78" fmla="*/ 0 w 10017"/>
              <a:gd name="connsiteY78" fmla="*/ 1308 h 10096"/>
              <a:gd name="connsiteX79" fmla="*/ 13 w 10017"/>
              <a:gd name="connsiteY79" fmla="*/ 1154 h 10096"/>
              <a:gd name="connsiteX80" fmla="*/ 13 w 10017"/>
              <a:gd name="connsiteY80" fmla="*/ 1154 h 10096"/>
              <a:gd name="connsiteX81" fmla="*/ 36 w 10017"/>
              <a:gd name="connsiteY81" fmla="*/ 1012 h 10096"/>
              <a:gd name="connsiteX82" fmla="*/ 64 w 10017"/>
              <a:gd name="connsiteY82" fmla="*/ 868 h 10096"/>
              <a:gd name="connsiteX83" fmla="*/ 107 w 10017"/>
              <a:gd name="connsiteY83" fmla="*/ 723 h 10096"/>
              <a:gd name="connsiteX84" fmla="*/ 150 w 10017"/>
              <a:gd name="connsiteY84" fmla="*/ 585 h 10096"/>
              <a:gd name="connsiteX85" fmla="*/ 206 w 10017"/>
              <a:gd name="connsiteY85" fmla="*/ 448 h 10096"/>
              <a:gd name="connsiteX86" fmla="*/ 269 w 10017"/>
              <a:gd name="connsiteY86" fmla="*/ 308 h 10096"/>
              <a:gd name="connsiteX87" fmla="*/ 333 w 10017"/>
              <a:gd name="connsiteY87" fmla="*/ 177 h 10096"/>
              <a:gd name="connsiteX88" fmla="*/ 417 w 10017"/>
              <a:gd name="connsiteY88" fmla="*/ 44 h 10096"/>
              <a:gd name="connsiteX89" fmla="*/ 417 w 10017"/>
              <a:gd name="connsiteY89" fmla="*/ 44 h 10096"/>
              <a:gd name="connsiteX90" fmla="*/ 432 w 10017"/>
              <a:gd name="connsiteY90" fmla="*/ 0 h 10096"/>
              <a:gd name="connsiteX91" fmla="*/ 432 w 10017"/>
              <a:gd name="connsiteY91" fmla="*/ 0 h 10096"/>
              <a:gd name="connsiteX0" fmla="*/ 432 w 10017"/>
              <a:gd name="connsiteY0" fmla="*/ 0 h 10096"/>
              <a:gd name="connsiteX1" fmla="*/ 432 w 10017"/>
              <a:gd name="connsiteY1" fmla="*/ 0 h 10096"/>
              <a:gd name="connsiteX2" fmla="*/ 10000 w 10017"/>
              <a:gd name="connsiteY2" fmla="*/ 0 h 10096"/>
              <a:gd name="connsiteX3" fmla="*/ 10000 w 10017"/>
              <a:gd name="connsiteY3" fmla="*/ 10096 h 10096"/>
              <a:gd name="connsiteX4" fmla="*/ 9537 w 10017"/>
              <a:gd name="connsiteY4" fmla="*/ 9785 h 10096"/>
              <a:gd name="connsiteX5" fmla="*/ 9172 w 10017"/>
              <a:gd name="connsiteY5" fmla="*/ 9563 h 10096"/>
              <a:gd name="connsiteX6" fmla="*/ 8811 w 10017"/>
              <a:gd name="connsiteY6" fmla="*/ 9338 h 10096"/>
              <a:gd name="connsiteX7" fmla="*/ 8452 w 10017"/>
              <a:gd name="connsiteY7" fmla="*/ 9110 h 10096"/>
              <a:gd name="connsiteX8" fmla="*/ 8099 w 10017"/>
              <a:gd name="connsiteY8" fmla="*/ 8873 h 10096"/>
              <a:gd name="connsiteX9" fmla="*/ 8099 w 10017"/>
              <a:gd name="connsiteY9" fmla="*/ 8873 h 10096"/>
              <a:gd name="connsiteX10" fmla="*/ 7688 w 10017"/>
              <a:gd name="connsiteY10" fmla="*/ 8603 h 10096"/>
              <a:gd name="connsiteX11" fmla="*/ 7688 w 10017"/>
              <a:gd name="connsiteY11" fmla="*/ 8603 h 10096"/>
              <a:gd name="connsiteX12" fmla="*/ 7830 w 10017"/>
              <a:gd name="connsiteY12" fmla="*/ 8391 h 10096"/>
              <a:gd name="connsiteX13" fmla="*/ 7957 w 10017"/>
              <a:gd name="connsiteY13" fmla="*/ 8183 h 10096"/>
              <a:gd name="connsiteX14" fmla="*/ 7957 w 10017"/>
              <a:gd name="connsiteY14" fmla="*/ 8183 h 10096"/>
              <a:gd name="connsiteX15" fmla="*/ 8014 w 10017"/>
              <a:gd name="connsiteY15" fmla="*/ 8084 h 10096"/>
              <a:gd name="connsiteX16" fmla="*/ 8064 w 10017"/>
              <a:gd name="connsiteY16" fmla="*/ 7980 h 10096"/>
              <a:gd name="connsiteX17" fmla="*/ 8113 w 10017"/>
              <a:gd name="connsiteY17" fmla="*/ 7875 h 10096"/>
              <a:gd name="connsiteX18" fmla="*/ 8156 w 10017"/>
              <a:gd name="connsiteY18" fmla="*/ 7769 h 10096"/>
              <a:gd name="connsiteX19" fmla="*/ 8189 w 10017"/>
              <a:gd name="connsiteY19" fmla="*/ 7658 h 10096"/>
              <a:gd name="connsiteX20" fmla="*/ 8217 w 10017"/>
              <a:gd name="connsiteY20" fmla="*/ 7554 h 10096"/>
              <a:gd name="connsiteX21" fmla="*/ 8232 w 10017"/>
              <a:gd name="connsiteY21" fmla="*/ 7444 h 10096"/>
              <a:gd name="connsiteX22" fmla="*/ 8246 w 10017"/>
              <a:gd name="connsiteY22" fmla="*/ 7327 h 10096"/>
              <a:gd name="connsiteX23" fmla="*/ 8246 w 10017"/>
              <a:gd name="connsiteY23" fmla="*/ 7327 h 10096"/>
              <a:gd name="connsiteX24" fmla="*/ 8253 w 10017"/>
              <a:gd name="connsiteY24" fmla="*/ 7201 h 10096"/>
              <a:gd name="connsiteX25" fmla="*/ 8240 w 10017"/>
              <a:gd name="connsiteY25" fmla="*/ 7074 h 10096"/>
              <a:gd name="connsiteX26" fmla="*/ 8217 w 10017"/>
              <a:gd name="connsiteY26" fmla="*/ 6952 h 10096"/>
              <a:gd name="connsiteX27" fmla="*/ 8185 w 10017"/>
              <a:gd name="connsiteY27" fmla="*/ 6831 h 10096"/>
              <a:gd name="connsiteX28" fmla="*/ 8134 w 10017"/>
              <a:gd name="connsiteY28" fmla="*/ 6714 h 10096"/>
              <a:gd name="connsiteX29" fmla="*/ 8072 w 10017"/>
              <a:gd name="connsiteY29" fmla="*/ 6599 h 10096"/>
              <a:gd name="connsiteX30" fmla="*/ 7991 w 10017"/>
              <a:gd name="connsiteY30" fmla="*/ 6486 h 10096"/>
              <a:gd name="connsiteX31" fmla="*/ 7909 w 10017"/>
              <a:gd name="connsiteY31" fmla="*/ 6378 h 10096"/>
              <a:gd name="connsiteX32" fmla="*/ 7909 w 10017"/>
              <a:gd name="connsiteY32" fmla="*/ 6378 h 10096"/>
              <a:gd name="connsiteX33" fmla="*/ 7816 w 10017"/>
              <a:gd name="connsiteY33" fmla="*/ 6278 h 10096"/>
              <a:gd name="connsiteX34" fmla="*/ 7717 w 10017"/>
              <a:gd name="connsiteY34" fmla="*/ 6179 h 10096"/>
              <a:gd name="connsiteX35" fmla="*/ 7613 w 10017"/>
              <a:gd name="connsiteY35" fmla="*/ 6091 h 10096"/>
              <a:gd name="connsiteX36" fmla="*/ 7499 w 10017"/>
              <a:gd name="connsiteY36" fmla="*/ 6003 h 10096"/>
              <a:gd name="connsiteX37" fmla="*/ 7377 w 10017"/>
              <a:gd name="connsiteY37" fmla="*/ 5919 h 10096"/>
              <a:gd name="connsiteX38" fmla="*/ 7260 w 10017"/>
              <a:gd name="connsiteY38" fmla="*/ 5841 h 10096"/>
              <a:gd name="connsiteX39" fmla="*/ 7131 w 10017"/>
              <a:gd name="connsiteY39" fmla="*/ 5765 h 10096"/>
              <a:gd name="connsiteX40" fmla="*/ 7005 w 10017"/>
              <a:gd name="connsiteY40" fmla="*/ 5693 h 10096"/>
              <a:gd name="connsiteX41" fmla="*/ 7005 w 10017"/>
              <a:gd name="connsiteY41" fmla="*/ 5693 h 10096"/>
              <a:gd name="connsiteX42" fmla="*/ 6814 w 10017"/>
              <a:gd name="connsiteY42" fmla="*/ 5587 h 10096"/>
              <a:gd name="connsiteX43" fmla="*/ 6624 w 10017"/>
              <a:gd name="connsiteY43" fmla="*/ 5493 h 10096"/>
              <a:gd name="connsiteX44" fmla="*/ 6433 w 10017"/>
              <a:gd name="connsiteY44" fmla="*/ 5400 h 10096"/>
              <a:gd name="connsiteX45" fmla="*/ 6236 w 10017"/>
              <a:gd name="connsiteY45" fmla="*/ 5313 h 10096"/>
              <a:gd name="connsiteX46" fmla="*/ 6038 w 10017"/>
              <a:gd name="connsiteY46" fmla="*/ 5229 h 10096"/>
              <a:gd name="connsiteX47" fmla="*/ 5834 w 10017"/>
              <a:gd name="connsiteY47" fmla="*/ 5147 h 10096"/>
              <a:gd name="connsiteX48" fmla="*/ 5628 w 10017"/>
              <a:gd name="connsiteY48" fmla="*/ 5070 h 10096"/>
              <a:gd name="connsiteX49" fmla="*/ 5426 w 10017"/>
              <a:gd name="connsiteY49" fmla="*/ 4992 h 10096"/>
              <a:gd name="connsiteX50" fmla="*/ 5426 w 10017"/>
              <a:gd name="connsiteY50" fmla="*/ 4992 h 10096"/>
              <a:gd name="connsiteX51" fmla="*/ 4747 w 10017"/>
              <a:gd name="connsiteY51" fmla="*/ 4760 h 10096"/>
              <a:gd name="connsiteX52" fmla="*/ 4077 w 10017"/>
              <a:gd name="connsiteY52" fmla="*/ 4528 h 10096"/>
              <a:gd name="connsiteX53" fmla="*/ 2731 w 10017"/>
              <a:gd name="connsiteY53" fmla="*/ 4070 h 10096"/>
              <a:gd name="connsiteX54" fmla="*/ 2731 w 10017"/>
              <a:gd name="connsiteY54" fmla="*/ 4070 h 10096"/>
              <a:gd name="connsiteX55" fmla="*/ 2506 w 10017"/>
              <a:gd name="connsiteY55" fmla="*/ 3993 h 10096"/>
              <a:gd name="connsiteX56" fmla="*/ 2280 w 10017"/>
              <a:gd name="connsiteY56" fmla="*/ 3908 h 10096"/>
              <a:gd name="connsiteX57" fmla="*/ 2059 w 10017"/>
              <a:gd name="connsiteY57" fmla="*/ 3821 h 10096"/>
              <a:gd name="connsiteX58" fmla="*/ 1848 w 10017"/>
              <a:gd name="connsiteY58" fmla="*/ 3728 h 10096"/>
              <a:gd name="connsiteX59" fmla="*/ 1645 w 10017"/>
              <a:gd name="connsiteY59" fmla="*/ 3623 h 10096"/>
              <a:gd name="connsiteX60" fmla="*/ 1447 w 10017"/>
              <a:gd name="connsiteY60" fmla="*/ 3512 h 10096"/>
              <a:gd name="connsiteX61" fmla="*/ 1249 w 10017"/>
              <a:gd name="connsiteY61" fmla="*/ 3395 h 10096"/>
              <a:gd name="connsiteX62" fmla="*/ 1066 w 10017"/>
              <a:gd name="connsiteY62" fmla="*/ 3269 h 10096"/>
              <a:gd name="connsiteX63" fmla="*/ 1066 w 10017"/>
              <a:gd name="connsiteY63" fmla="*/ 3269 h 10096"/>
              <a:gd name="connsiteX64" fmla="*/ 924 w 10017"/>
              <a:gd name="connsiteY64" fmla="*/ 3159 h 10096"/>
              <a:gd name="connsiteX65" fmla="*/ 791 w 10017"/>
              <a:gd name="connsiteY65" fmla="*/ 3048 h 10096"/>
              <a:gd name="connsiteX66" fmla="*/ 664 w 10017"/>
              <a:gd name="connsiteY66" fmla="*/ 2931 h 10096"/>
              <a:gd name="connsiteX67" fmla="*/ 559 w 10017"/>
              <a:gd name="connsiteY67" fmla="*/ 2816 h 10096"/>
              <a:gd name="connsiteX68" fmla="*/ 451 w 10017"/>
              <a:gd name="connsiteY68" fmla="*/ 2695 h 10096"/>
              <a:gd name="connsiteX69" fmla="*/ 361 w 10017"/>
              <a:gd name="connsiteY69" fmla="*/ 2568 h 10096"/>
              <a:gd name="connsiteX70" fmla="*/ 282 w 10017"/>
              <a:gd name="connsiteY70" fmla="*/ 2440 h 10096"/>
              <a:gd name="connsiteX71" fmla="*/ 206 w 10017"/>
              <a:gd name="connsiteY71" fmla="*/ 2313 h 10096"/>
              <a:gd name="connsiteX72" fmla="*/ 150 w 10017"/>
              <a:gd name="connsiteY72" fmla="*/ 2182 h 10096"/>
              <a:gd name="connsiteX73" fmla="*/ 99 w 10017"/>
              <a:gd name="connsiteY73" fmla="*/ 2042 h 10096"/>
              <a:gd name="connsiteX74" fmla="*/ 56 w 10017"/>
              <a:gd name="connsiteY74" fmla="*/ 1899 h 10096"/>
              <a:gd name="connsiteX75" fmla="*/ 28 w 10017"/>
              <a:gd name="connsiteY75" fmla="*/ 1756 h 10096"/>
              <a:gd name="connsiteX76" fmla="*/ 8 w 10017"/>
              <a:gd name="connsiteY76" fmla="*/ 1612 h 10096"/>
              <a:gd name="connsiteX77" fmla="*/ 0 w 10017"/>
              <a:gd name="connsiteY77" fmla="*/ 1462 h 10096"/>
              <a:gd name="connsiteX78" fmla="*/ 0 w 10017"/>
              <a:gd name="connsiteY78" fmla="*/ 1308 h 10096"/>
              <a:gd name="connsiteX79" fmla="*/ 13 w 10017"/>
              <a:gd name="connsiteY79" fmla="*/ 1154 h 10096"/>
              <a:gd name="connsiteX80" fmla="*/ 13 w 10017"/>
              <a:gd name="connsiteY80" fmla="*/ 1154 h 10096"/>
              <a:gd name="connsiteX81" fmla="*/ 36 w 10017"/>
              <a:gd name="connsiteY81" fmla="*/ 1012 h 10096"/>
              <a:gd name="connsiteX82" fmla="*/ 64 w 10017"/>
              <a:gd name="connsiteY82" fmla="*/ 868 h 10096"/>
              <a:gd name="connsiteX83" fmla="*/ 107 w 10017"/>
              <a:gd name="connsiteY83" fmla="*/ 723 h 10096"/>
              <a:gd name="connsiteX84" fmla="*/ 150 w 10017"/>
              <a:gd name="connsiteY84" fmla="*/ 585 h 10096"/>
              <a:gd name="connsiteX85" fmla="*/ 206 w 10017"/>
              <a:gd name="connsiteY85" fmla="*/ 448 h 10096"/>
              <a:gd name="connsiteX86" fmla="*/ 269 w 10017"/>
              <a:gd name="connsiteY86" fmla="*/ 308 h 10096"/>
              <a:gd name="connsiteX87" fmla="*/ 333 w 10017"/>
              <a:gd name="connsiteY87" fmla="*/ 177 h 10096"/>
              <a:gd name="connsiteX88" fmla="*/ 417 w 10017"/>
              <a:gd name="connsiteY88" fmla="*/ 44 h 10096"/>
              <a:gd name="connsiteX89" fmla="*/ 417 w 10017"/>
              <a:gd name="connsiteY89" fmla="*/ 44 h 10096"/>
              <a:gd name="connsiteX90" fmla="*/ 432 w 10017"/>
              <a:gd name="connsiteY90" fmla="*/ 0 h 10096"/>
              <a:gd name="connsiteX91" fmla="*/ 432 w 10017"/>
              <a:gd name="connsiteY91" fmla="*/ 0 h 10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Lst>
            <a:rect l="l" t="t" r="r" b="b"/>
            <a:pathLst>
              <a:path w="10017" h="10096">
                <a:moveTo>
                  <a:pt x="432" y="0"/>
                </a:moveTo>
                <a:lnTo>
                  <a:pt x="432" y="0"/>
                </a:lnTo>
                <a:lnTo>
                  <a:pt x="10000" y="0"/>
                </a:lnTo>
                <a:cubicBezTo>
                  <a:pt x="10010" y="3085"/>
                  <a:pt x="10017" y="7925"/>
                  <a:pt x="10000" y="10096"/>
                </a:cubicBezTo>
                <a:cubicBezTo>
                  <a:pt x="9808" y="10001"/>
                  <a:pt x="9660" y="9857"/>
                  <a:pt x="9537" y="9785"/>
                </a:cubicBezTo>
                <a:lnTo>
                  <a:pt x="9172" y="9563"/>
                </a:lnTo>
                <a:lnTo>
                  <a:pt x="8811" y="9338"/>
                </a:lnTo>
                <a:lnTo>
                  <a:pt x="8452" y="9110"/>
                </a:lnTo>
                <a:lnTo>
                  <a:pt x="8099" y="8873"/>
                </a:lnTo>
                <a:lnTo>
                  <a:pt x="8099" y="8873"/>
                </a:lnTo>
                <a:lnTo>
                  <a:pt x="7688" y="8603"/>
                </a:lnTo>
                <a:lnTo>
                  <a:pt x="7688" y="8603"/>
                </a:lnTo>
                <a:cubicBezTo>
                  <a:pt x="7736" y="8533"/>
                  <a:pt x="7783" y="8464"/>
                  <a:pt x="7830" y="8391"/>
                </a:cubicBezTo>
                <a:cubicBezTo>
                  <a:pt x="7873" y="8323"/>
                  <a:pt x="7917" y="8253"/>
                  <a:pt x="7957" y="8183"/>
                </a:cubicBezTo>
                <a:lnTo>
                  <a:pt x="7957" y="8183"/>
                </a:lnTo>
                <a:lnTo>
                  <a:pt x="8014" y="8084"/>
                </a:lnTo>
                <a:cubicBezTo>
                  <a:pt x="8029" y="8051"/>
                  <a:pt x="8048" y="8013"/>
                  <a:pt x="8064" y="7980"/>
                </a:cubicBezTo>
                <a:cubicBezTo>
                  <a:pt x="8080" y="7945"/>
                  <a:pt x="8097" y="7908"/>
                  <a:pt x="8113" y="7875"/>
                </a:cubicBezTo>
                <a:cubicBezTo>
                  <a:pt x="8128" y="7839"/>
                  <a:pt x="8142" y="7803"/>
                  <a:pt x="8156" y="7769"/>
                </a:cubicBezTo>
                <a:cubicBezTo>
                  <a:pt x="8166" y="7732"/>
                  <a:pt x="8180" y="7695"/>
                  <a:pt x="8189" y="7658"/>
                </a:cubicBezTo>
                <a:cubicBezTo>
                  <a:pt x="8200" y="7625"/>
                  <a:pt x="8209" y="7587"/>
                  <a:pt x="8217" y="7554"/>
                </a:cubicBezTo>
                <a:cubicBezTo>
                  <a:pt x="8222" y="7518"/>
                  <a:pt x="8227" y="7480"/>
                  <a:pt x="8232" y="7444"/>
                </a:cubicBezTo>
                <a:cubicBezTo>
                  <a:pt x="8237" y="7405"/>
                  <a:pt x="8242" y="7366"/>
                  <a:pt x="8246" y="7327"/>
                </a:cubicBezTo>
                <a:lnTo>
                  <a:pt x="8246" y="7327"/>
                </a:lnTo>
                <a:cubicBezTo>
                  <a:pt x="8250" y="7285"/>
                  <a:pt x="8251" y="7242"/>
                  <a:pt x="8253" y="7201"/>
                </a:cubicBezTo>
                <a:cubicBezTo>
                  <a:pt x="8249" y="7159"/>
                  <a:pt x="8245" y="7116"/>
                  <a:pt x="8240" y="7074"/>
                </a:cubicBezTo>
                <a:cubicBezTo>
                  <a:pt x="8232" y="7033"/>
                  <a:pt x="8225" y="6991"/>
                  <a:pt x="8217" y="6952"/>
                </a:cubicBezTo>
                <a:cubicBezTo>
                  <a:pt x="8207" y="6911"/>
                  <a:pt x="8194" y="6873"/>
                  <a:pt x="8185" y="6831"/>
                </a:cubicBezTo>
                <a:cubicBezTo>
                  <a:pt x="8166" y="6792"/>
                  <a:pt x="8150" y="6753"/>
                  <a:pt x="8134" y="6714"/>
                </a:cubicBezTo>
                <a:cubicBezTo>
                  <a:pt x="8113" y="6676"/>
                  <a:pt x="8092" y="6638"/>
                  <a:pt x="8072" y="6599"/>
                </a:cubicBezTo>
                <a:cubicBezTo>
                  <a:pt x="8044" y="6561"/>
                  <a:pt x="8019" y="6525"/>
                  <a:pt x="7991" y="6486"/>
                </a:cubicBezTo>
                <a:cubicBezTo>
                  <a:pt x="7964" y="6450"/>
                  <a:pt x="7936" y="6415"/>
                  <a:pt x="7909" y="6378"/>
                </a:cubicBezTo>
                <a:lnTo>
                  <a:pt x="7909" y="6378"/>
                </a:lnTo>
                <a:cubicBezTo>
                  <a:pt x="7877" y="6344"/>
                  <a:pt x="7848" y="6311"/>
                  <a:pt x="7816" y="6278"/>
                </a:cubicBezTo>
                <a:cubicBezTo>
                  <a:pt x="7783" y="6244"/>
                  <a:pt x="7750" y="6212"/>
                  <a:pt x="7717" y="6179"/>
                </a:cubicBezTo>
                <a:cubicBezTo>
                  <a:pt x="7684" y="6149"/>
                  <a:pt x="7645" y="6120"/>
                  <a:pt x="7613" y="6091"/>
                </a:cubicBezTo>
                <a:cubicBezTo>
                  <a:pt x="7575" y="6062"/>
                  <a:pt x="7535" y="6033"/>
                  <a:pt x="7499" y="6003"/>
                </a:cubicBezTo>
                <a:cubicBezTo>
                  <a:pt x="7459" y="5975"/>
                  <a:pt x="7419" y="5946"/>
                  <a:pt x="7377" y="5919"/>
                </a:cubicBezTo>
                <a:cubicBezTo>
                  <a:pt x="7339" y="5893"/>
                  <a:pt x="7298" y="5868"/>
                  <a:pt x="7260" y="5841"/>
                </a:cubicBezTo>
                <a:cubicBezTo>
                  <a:pt x="7218" y="5818"/>
                  <a:pt x="7174" y="5791"/>
                  <a:pt x="7131" y="5765"/>
                </a:cubicBezTo>
                <a:cubicBezTo>
                  <a:pt x="7090" y="5741"/>
                  <a:pt x="7047" y="5718"/>
                  <a:pt x="7005" y="5693"/>
                </a:cubicBezTo>
                <a:lnTo>
                  <a:pt x="7005" y="5693"/>
                </a:lnTo>
                <a:lnTo>
                  <a:pt x="6814" y="5587"/>
                </a:lnTo>
                <a:lnTo>
                  <a:pt x="6624" y="5493"/>
                </a:lnTo>
                <a:lnTo>
                  <a:pt x="6433" y="5400"/>
                </a:lnTo>
                <a:lnTo>
                  <a:pt x="6236" y="5313"/>
                </a:lnTo>
                <a:lnTo>
                  <a:pt x="6038" y="5229"/>
                </a:lnTo>
                <a:lnTo>
                  <a:pt x="5834" y="5147"/>
                </a:lnTo>
                <a:lnTo>
                  <a:pt x="5628" y="5070"/>
                </a:lnTo>
                <a:lnTo>
                  <a:pt x="5426" y="4992"/>
                </a:lnTo>
                <a:lnTo>
                  <a:pt x="5426" y="4992"/>
                </a:lnTo>
                <a:lnTo>
                  <a:pt x="4747" y="4760"/>
                </a:lnTo>
                <a:lnTo>
                  <a:pt x="4077" y="4528"/>
                </a:lnTo>
                <a:lnTo>
                  <a:pt x="2731" y="4070"/>
                </a:lnTo>
                <a:lnTo>
                  <a:pt x="2731" y="4070"/>
                </a:lnTo>
                <a:lnTo>
                  <a:pt x="2506" y="3993"/>
                </a:lnTo>
                <a:lnTo>
                  <a:pt x="2280" y="3908"/>
                </a:lnTo>
                <a:lnTo>
                  <a:pt x="2059" y="3821"/>
                </a:lnTo>
                <a:lnTo>
                  <a:pt x="1848" y="3728"/>
                </a:lnTo>
                <a:lnTo>
                  <a:pt x="1645" y="3623"/>
                </a:lnTo>
                <a:cubicBezTo>
                  <a:pt x="1579" y="3585"/>
                  <a:pt x="1512" y="3548"/>
                  <a:pt x="1447" y="3512"/>
                </a:cubicBezTo>
                <a:lnTo>
                  <a:pt x="1249" y="3395"/>
                </a:lnTo>
                <a:lnTo>
                  <a:pt x="1066" y="3269"/>
                </a:lnTo>
                <a:lnTo>
                  <a:pt x="1066" y="3269"/>
                </a:lnTo>
                <a:cubicBezTo>
                  <a:pt x="1019" y="3233"/>
                  <a:pt x="972" y="3195"/>
                  <a:pt x="924" y="3159"/>
                </a:cubicBezTo>
                <a:cubicBezTo>
                  <a:pt x="880" y="3120"/>
                  <a:pt x="835" y="3086"/>
                  <a:pt x="791" y="3048"/>
                </a:cubicBezTo>
                <a:cubicBezTo>
                  <a:pt x="748" y="3009"/>
                  <a:pt x="705" y="2972"/>
                  <a:pt x="664" y="2931"/>
                </a:cubicBezTo>
                <a:cubicBezTo>
                  <a:pt x="629" y="2894"/>
                  <a:pt x="594" y="2853"/>
                  <a:pt x="559" y="2816"/>
                </a:cubicBezTo>
                <a:cubicBezTo>
                  <a:pt x="521" y="2775"/>
                  <a:pt x="486" y="2736"/>
                  <a:pt x="451" y="2695"/>
                </a:cubicBezTo>
                <a:cubicBezTo>
                  <a:pt x="421" y="2652"/>
                  <a:pt x="391" y="2611"/>
                  <a:pt x="361" y="2568"/>
                </a:cubicBezTo>
                <a:cubicBezTo>
                  <a:pt x="334" y="2526"/>
                  <a:pt x="308" y="2482"/>
                  <a:pt x="282" y="2440"/>
                </a:cubicBezTo>
                <a:cubicBezTo>
                  <a:pt x="256" y="2398"/>
                  <a:pt x="231" y="2356"/>
                  <a:pt x="206" y="2313"/>
                </a:cubicBezTo>
                <a:cubicBezTo>
                  <a:pt x="188" y="2269"/>
                  <a:pt x="168" y="2225"/>
                  <a:pt x="150" y="2182"/>
                </a:cubicBezTo>
                <a:cubicBezTo>
                  <a:pt x="132" y="2134"/>
                  <a:pt x="117" y="2090"/>
                  <a:pt x="99" y="2042"/>
                </a:cubicBezTo>
                <a:cubicBezTo>
                  <a:pt x="84" y="1995"/>
                  <a:pt x="70" y="1946"/>
                  <a:pt x="56" y="1899"/>
                </a:cubicBezTo>
                <a:cubicBezTo>
                  <a:pt x="48" y="1852"/>
                  <a:pt x="36" y="1804"/>
                  <a:pt x="28" y="1756"/>
                </a:cubicBezTo>
                <a:cubicBezTo>
                  <a:pt x="21" y="1710"/>
                  <a:pt x="13" y="1660"/>
                  <a:pt x="8" y="1612"/>
                </a:cubicBezTo>
                <a:cubicBezTo>
                  <a:pt x="5" y="1562"/>
                  <a:pt x="3" y="1513"/>
                  <a:pt x="0" y="1462"/>
                </a:cubicBezTo>
                <a:lnTo>
                  <a:pt x="0" y="1308"/>
                </a:lnTo>
                <a:cubicBezTo>
                  <a:pt x="5" y="1258"/>
                  <a:pt x="9" y="1205"/>
                  <a:pt x="13" y="1154"/>
                </a:cubicBezTo>
                <a:lnTo>
                  <a:pt x="13" y="1154"/>
                </a:lnTo>
                <a:cubicBezTo>
                  <a:pt x="21" y="1106"/>
                  <a:pt x="28" y="1060"/>
                  <a:pt x="36" y="1012"/>
                </a:cubicBezTo>
                <a:cubicBezTo>
                  <a:pt x="45" y="964"/>
                  <a:pt x="55" y="914"/>
                  <a:pt x="64" y="868"/>
                </a:cubicBezTo>
                <a:cubicBezTo>
                  <a:pt x="77" y="819"/>
                  <a:pt x="93" y="771"/>
                  <a:pt x="107" y="723"/>
                </a:cubicBezTo>
                <a:cubicBezTo>
                  <a:pt x="122" y="677"/>
                  <a:pt x="135" y="632"/>
                  <a:pt x="150" y="585"/>
                </a:cubicBezTo>
                <a:cubicBezTo>
                  <a:pt x="168" y="540"/>
                  <a:pt x="187" y="493"/>
                  <a:pt x="206" y="448"/>
                </a:cubicBezTo>
                <a:cubicBezTo>
                  <a:pt x="226" y="400"/>
                  <a:pt x="248" y="356"/>
                  <a:pt x="269" y="308"/>
                </a:cubicBezTo>
                <a:cubicBezTo>
                  <a:pt x="290" y="264"/>
                  <a:pt x="309" y="220"/>
                  <a:pt x="333" y="177"/>
                </a:cubicBezTo>
                <a:cubicBezTo>
                  <a:pt x="361" y="133"/>
                  <a:pt x="389" y="88"/>
                  <a:pt x="417" y="44"/>
                </a:cubicBezTo>
                <a:lnTo>
                  <a:pt x="417" y="44"/>
                </a:lnTo>
                <a:cubicBezTo>
                  <a:pt x="421" y="29"/>
                  <a:pt x="426" y="14"/>
                  <a:pt x="432" y="0"/>
                </a:cubicBezTo>
                <a:lnTo>
                  <a:pt x="432" y="0"/>
                </a:lnTo>
                <a:close/>
              </a:path>
            </a:pathLst>
          </a:custGeom>
          <a:solidFill>
            <a:schemeClr val="accent1"/>
          </a:solidFill>
          <a:ln w="9525">
            <a:noFill/>
            <a:round/>
            <a:headEnd/>
            <a:tailEnd/>
          </a:ln>
        </p:spPr>
        <p:txBody>
          <a:bodyPr vert="horz" wrap="square" lIns="91424" tIns="45712" rIns="91424" bIns="45712" numCol="1" anchor="t" anchorCtr="0" compatLnSpc="1">
            <a:prstTxWarp prst="textNoShape">
              <a:avLst/>
            </a:prstTxWarp>
          </a:bodyPr>
          <a:lstStyle/>
          <a:p>
            <a:endParaRPr lang="en-GB" sz="1800"/>
          </a:p>
        </p:txBody>
      </p:sp>
      <p:sp>
        <p:nvSpPr>
          <p:cNvPr id="5" name="Text Placeholder 13">
            <a:extLst>
              <a:ext uri="{FF2B5EF4-FFF2-40B4-BE49-F238E27FC236}">
                <a16:creationId xmlns:a16="http://schemas.microsoft.com/office/drawing/2014/main" id="{7D1DC75A-C7A4-44A4-B19C-D445335545B0}"/>
              </a:ext>
            </a:extLst>
          </p:cNvPr>
          <p:cNvSpPr>
            <a:spLocks noGrp="1"/>
          </p:cNvSpPr>
          <p:nvPr>
            <p:ph type="body" sz="quarter" idx="11" hasCustomPrompt="1"/>
          </p:nvPr>
        </p:nvSpPr>
        <p:spPr>
          <a:xfrm>
            <a:off x="305991" y="2276872"/>
            <a:ext cx="4049985" cy="869950"/>
          </a:xfrm>
        </p:spPr>
        <p:txBody>
          <a:bodyPr lIns="0" tIns="0" rIns="0" bIns="0" anchor="b">
            <a:normAutofit/>
          </a:bodyPr>
          <a:lstStyle>
            <a:lvl1pPr>
              <a:lnSpc>
                <a:spcPts val="2999"/>
              </a:lnSpc>
              <a:defRPr sz="2599">
                <a:solidFill>
                  <a:schemeClr val="accent1"/>
                </a:solidFill>
              </a:defRPr>
            </a:lvl1pPr>
            <a:lvl2pPr>
              <a:defRPr sz="2400">
                <a:solidFill>
                  <a:schemeClr val="bg1"/>
                </a:solidFill>
              </a:defRPr>
            </a:lvl2pPr>
          </a:lstStyle>
          <a:p>
            <a:pPr lvl="0"/>
            <a:r>
              <a:rPr lang="en-US" dirty="0"/>
              <a:t>Click to insert title</a:t>
            </a:r>
            <a:endParaRPr lang="pt-PT" dirty="0"/>
          </a:p>
        </p:txBody>
      </p:sp>
      <p:sp>
        <p:nvSpPr>
          <p:cNvPr id="6" name="Text Placeholder 13">
            <a:extLst>
              <a:ext uri="{FF2B5EF4-FFF2-40B4-BE49-F238E27FC236}">
                <a16:creationId xmlns:a16="http://schemas.microsoft.com/office/drawing/2014/main" id="{563879A0-0979-491A-8758-371BB7AD935B}"/>
              </a:ext>
            </a:extLst>
          </p:cNvPr>
          <p:cNvSpPr>
            <a:spLocks noGrp="1"/>
          </p:cNvSpPr>
          <p:nvPr>
            <p:ph type="body" sz="quarter" idx="12" hasCustomPrompt="1"/>
          </p:nvPr>
        </p:nvSpPr>
        <p:spPr>
          <a:xfrm>
            <a:off x="305991" y="3261834"/>
            <a:ext cx="4769978" cy="1196340"/>
          </a:xfrm>
        </p:spPr>
        <p:txBody>
          <a:bodyPr lIns="0" tIns="0" rIns="0" bIns="0">
            <a:normAutofit/>
          </a:bodyPr>
          <a:lstStyle>
            <a:lvl1pPr>
              <a:lnSpc>
                <a:spcPts val="1800"/>
              </a:lnSpc>
              <a:defRPr sz="1600">
                <a:solidFill>
                  <a:schemeClr val="accent1"/>
                </a:solidFill>
              </a:defRPr>
            </a:lvl1pPr>
            <a:lvl2pPr>
              <a:defRPr sz="1600">
                <a:solidFill>
                  <a:schemeClr val="bg1"/>
                </a:solidFill>
              </a:defRPr>
            </a:lvl2pPr>
          </a:lstStyle>
          <a:p>
            <a:pPr lvl="0"/>
            <a:r>
              <a:rPr lang="en-US" dirty="0"/>
              <a:t>Click to insert presenter, location, and date</a:t>
            </a:r>
            <a:endParaRPr lang="pt-PT" dirty="0"/>
          </a:p>
        </p:txBody>
      </p:sp>
      <p:pic>
        <p:nvPicPr>
          <p:cNvPr id="7" name="Graphic 9">
            <a:extLst>
              <a:ext uri="{FF2B5EF4-FFF2-40B4-BE49-F238E27FC236}">
                <a16:creationId xmlns:a16="http://schemas.microsoft.com/office/drawing/2014/main" id="{C3D2EC56-D17C-4A75-8178-C69397BC7353}"/>
              </a:ext>
            </a:extLst>
          </p:cNvPr>
          <p:cNvPicPr>
            <a:picLocks noChangeAspect="1"/>
          </p:cNvPicPr>
          <p:nvPr/>
        </p:nvPicPr>
        <p:blipFill>
          <a:blip r:embed="rId2" cstate="print">
            <a:extLst>
              <a:ext uri="{96DAC541-7B7A-43D3-8B79-37D633B846F1}">
                <asvg:svgBlip xmlns:asvg="http://schemas.microsoft.com/office/drawing/2016/SVG/main" r:embed="rId3"/>
              </a:ext>
            </a:extLst>
          </a:blip>
          <a:stretch>
            <a:fillRect/>
          </a:stretch>
        </p:blipFill>
        <p:spPr>
          <a:xfrm>
            <a:off x="407917" y="404665"/>
            <a:ext cx="2285603" cy="510013"/>
          </a:xfrm>
          <a:prstGeom prst="rect">
            <a:avLst/>
          </a:prstGeom>
        </p:spPr>
      </p:pic>
    </p:spTree>
    <p:extLst>
      <p:ext uri="{BB962C8B-B14F-4D97-AF65-F5344CB8AC3E}">
        <p14:creationId xmlns:p14="http://schemas.microsoft.com/office/powerpoint/2010/main" val="2093259059"/>
      </p:ext>
    </p:extLst>
  </p:cSld>
  <p:clrMapOvr>
    <a:masterClrMapping/>
  </p:clrMapOvr>
  <p:hf sldNum="0" hdr="0" dt="0"/>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Divider 3">
    <p:spTree>
      <p:nvGrpSpPr>
        <p:cNvPr id="1" name=""/>
        <p:cNvGrpSpPr/>
        <p:nvPr/>
      </p:nvGrpSpPr>
      <p:grpSpPr>
        <a:xfrm>
          <a:off x="0" y="0"/>
          <a:ext cx="0" cy="0"/>
          <a:chOff x="0" y="0"/>
          <a:chExt cx="0" cy="0"/>
        </a:xfrm>
      </p:grpSpPr>
      <p:sp>
        <p:nvSpPr>
          <p:cNvPr id="5" name="Freeform 16"/>
          <p:cNvSpPr>
            <a:spLocks/>
          </p:cNvSpPr>
          <p:nvPr userDrawn="1"/>
        </p:nvSpPr>
        <p:spPr bwMode="auto">
          <a:xfrm>
            <a:off x="2692672" y="838200"/>
            <a:ext cx="6451328" cy="6019801"/>
          </a:xfrm>
          <a:custGeom>
            <a:avLst/>
            <a:gdLst/>
            <a:ahLst/>
            <a:cxnLst>
              <a:cxn ang="0">
                <a:pos x="4062" y="1126"/>
              </a:cxn>
              <a:cxn ang="0">
                <a:pos x="4062" y="128"/>
              </a:cxn>
              <a:cxn ang="0">
                <a:pos x="4056" y="110"/>
              </a:cxn>
              <a:cxn ang="0">
                <a:pos x="3996" y="88"/>
              </a:cxn>
              <a:cxn ang="0">
                <a:pos x="3838" y="44"/>
              </a:cxn>
              <a:cxn ang="0">
                <a:pos x="3678" y="16"/>
              </a:cxn>
              <a:cxn ang="0">
                <a:pos x="3518" y="2"/>
              </a:cxn>
              <a:cxn ang="0">
                <a:pos x="3356" y="2"/>
              </a:cxn>
              <a:cxn ang="0">
                <a:pos x="3190" y="16"/>
              </a:cxn>
              <a:cxn ang="0">
                <a:pos x="3006" y="50"/>
              </a:cxn>
              <a:cxn ang="0">
                <a:pos x="2738" y="128"/>
              </a:cxn>
              <a:cxn ang="0">
                <a:pos x="2478" y="234"/>
              </a:cxn>
              <a:cxn ang="0">
                <a:pos x="2316" y="316"/>
              </a:cxn>
              <a:cxn ang="0">
                <a:pos x="2080" y="452"/>
              </a:cxn>
              <a:cxn ang="0">
                <a:pos x="1852" y="602"/>
              </a:cxn>
              <a:cxn ang="0">
                <a:pos x="1668" y="732"/>
              </a:cxn>
              <a:cxn ang="0">
                <a:pos x="1308" y="1006"/>
              </a:cxn>
              <a:cxn ang="0">
                <a:pos x="966" y="1278"/>
              </a:cxn>
              <a:cxn ang="0">
                <a:pos x="630" y="1536"/>
              </a:cxn>
              <a:cxn ang="0">
                <a:pos x="458" y="1658"/>
              </a:cxn>
              <a:cxn ang="0">
                <a:pos x="252" y="1786"/>
              </a:cxn>
              <a:cxn ang="0">
                <a:pos x="90" y="1868"/>
              </a:cxn>
              <a:cxn ang="0">
                <a:pos x="20" y="1898"/>
              </a:cxn>
              <a:cxn ang="0">
                <a:pos x="2" y="1906"/>
              </a:cxn>
              <a:cxn ang="0">
                <a:pos x="2" y="1918"/>
              </a:cxn>
              <a:cxn ang="0">
                <a:pos x="8" y="1932"/>
              </a:cxn>
              <a:cxn ang="0">
                <a:pos x="30" y="2248"/>
              </a:cxn>
              <a:cxn ang="0">
                <a:pos x="54" y="2446"/>
              </a:cxn>
              <a:cxn ang="0">
                <a:pos x="98" y="2724"/>
              </a:cxn>
              <a:cxn ang="0">
                <a:pos x="158" y="3002"/>
              </a:cxn>
              <a:cxn ang="0">
                <a:pos x="204" y="3180"/>
              </a:cxn>
              <a:cxn ang="0">
                <a:pos x="288" y="3440"/>
              </a:cxn>
              <a:cxn ang="0">
                <a:pos x="386" y="3694"/>
              </a:cxn>
              <a:cxn ang="0">
                <a:pos x="426" y="3784"/>
              </a:cxn>
              <a:cxn ang="0">
                <a:pos x="446" y="3794"/>
              </a:cxn>
              <a:cxn ang="0">
                <a:pos x="1836" y="3794"/>
              </a:cxn>
              <a:cxn ang="0">
                <a:pos x="1858" y="3786"/>
              </a:cxn>
              <a:cxn ang="0">
                <a:pos x="1956" y="3724"/>
              </a:cxn>
              <a:cxn ang="0">
                <a:pos x="2128" y="3640"/>
              </a:cxn>
              <a:cxn ang="0">
                <a:pos x="2278" y="3582"/>
              </a:cxn>
              <a:cxn ang="0">
                <a:pos x="2506" y="3514"/>
              </a:cxn>
              <a:cxn ang="0">
                <a:pos x="2740" y="3460"/>
              </a:cxn>
              <a:cxn ang="0">
                <a:pos x="3280" y="3344"/>
              </a:cxn>
              <a:cxn ang="0">
                <a:pos x="3608" y="3262"/>
              </a:cxn>
              <a:cxn ang="0">
                <a:pos x="3828" y="3196"/>
              </a:cxn>
              <a:cxn ang="0">
                <a:pos x="4044" y="3116"/>
              </a:cxn>
              <a:cxn ang="0">
                <a:pos x="4058" y="3106"/>
              </a:cxn>
              <a:cxn ang="0">
                <a:pos x="4062" y="3088"/>
              </a:cxn>
            </a:cxnLst>
            <a:rect l="0" t="0" r="r" b="b"/>
            <a:pathLst>
              <a:path w="4062" h="3794">
                <a:moveTo>
                  <a:pt x="4062" y="1608"/>
                </a:moveTo>
                <a:lnTo>
                  <a:pt x="4062" y="1608"/>
                </a:lnTo>
                <a:lnTo>
                  <a:pt x="4062" y="1126"/>
                </a:lnTo>
                <a:lnTo>
                  <a:pt x="4062" y="1126"/>
                </a:lnTo>
                <a:lnTo>
                  <a:pt x="4062" y="128"/>
                </a:lnTo>
                <a:lnTo>
                  <a:pt x="4062" y="128"/>
                </a:lnTo>
                <a:lnTo>
                  <a:pt x="4062" y="122"/>
                </a:lnTo>
                <a:lnTo>
                  <a:pt x="4060" y="114"/>
                </a:lnTo>
                <a:lnTo>
                  <a:pt x="4056" y="110"/>
                </a:lnTo>
                <a:lnTo>
                  <a:pt x="4050" y="106"/>
                </a:lnTo>
                <a:lnTo>
                  <a:pt x="4050" y="106"/>
                </a:lnTo>
                <a:lnTo>
                  <a:pt x="3996" y="88"/>
                </a:lnTo>
                <a:lnTo>
                  <a:pt x="3944" y="72"/>
                </a:lnTo>
                <a:lnTo>
                  <a:pt x="3892" y="58"/>
                </a:lnTo>
                <a:lnTo>
                  <a:pt x="3838" y="44"/>
                </a:lnTo>
                <a:lnTo>
                  <a:pt x="3786" y="34"/>
                </a:lnTo>
                <a:lnTo>
                  <a:pt x="3732" y="24"/>
                </a:lnTo>
                <a:lnTo>
                  <a:pt x="3678" y="16"/>
                </a:lnTo>
                <a:lnTo>
                  <a:pt x="3626" y="10"/>
                </a:lnTo>
                <a:lnTo>
                  <a:pt x="3572" y="4"/>
                </a:lnTo>
                <a:lnTo>
                  <a:pt x="3518" y="2"/>
                </a:lnTo>
                <a:lnTo>
                  <a:pt x="3464" y="0"/>
                </a:lnTo>
                <a:lnTo>
                  <a:pt x="3410" y="0"/>
                </a:lnTo>
                <a:lnTo>
                  <a:pt x="3356" y="2"/>
                </a:lnTo>
                <a:lnTo>
                  <a:pt x="3300" y="4"/>
                </a:lnTo>
                <a:lnTo>
                  <a:pt x="3246" y="10"/>
                </a:lnTo>
                <a:lnTo>
                  <a:pt x="3190" y="16"/>
                </a:lnTo>
                <a:lnTo>
                  <a:pt x="3190" y="16"/>
                </a:lnTo>
                <a:lnTo>
                  <a:pt x="3098" y="30"/>
                </a:lnTo>
                <a:lnTo>
                  <a:pt x="3006" y="50"/>
                </a:lnTo>
                <a:lnTo>
                  <a:pt x="2916" y="72"/>
                </a:lnTo>
                <a:lnTo>
                  <a:pt x="2826" y="98"/>
                </a:lnTo>
                <a:lnTo>
                  <a:pt x="2738" y="128"/>
                </a:lnTo>
                <a:lnTo>
                  <a:pt x="2650" y="160"/>
                </a:lnTo>
                <a:lnTo>
                  <a:pt x="2564" y="196"/>
                </a:lnTo>
                <a:lnTo>
                  <a:pt x="2478" y="234"/>
                </a:lnTo>
                <a:lnTo>
                  <a:pt x="2478" y="234"/>
                </a:lnTo>
                <a:lnTo>
                  <a:pt x="2396" y="274"/>
                </a:lnTo>
                <a:lnTo>
                  <a:pt x="2316" y="316"/>
                </a:lnTo>
                <a:lnTo>
                  <a:pt x="2236" y="360"/>
                </a:lnTo>
                <a:lnTo>
                  <a:pt x="2158" y="406"/>
                </a:lnTo>
                <a:lnTo>
                  <a:pt x="2080" y="452"/>
                </a:lnTo>
                <a:lnTo>
                  <a:pt x="2002" y="500"/>
                </a:lnTo>
                <a:lnTo>
                  <a:pt x="1926" y="550"/>
                </a:lnTo>
                <a:lnTo>
                  <a:pt x="1852" y="602"/>
                </a:lnTo>
                <a:lnTo>
                  <a:pt x="1852" y="602"/>
                </a:lnTo>
                <a:lnTo>
                  <a:pt x="1758" y="666"/>
                </a:lnTo>
                <a:lnTo>
                  <a:pt x="1668" y="732"/>
                </a:lnTo>
                <a:lnTo>
                  <a:pt x="1576" y="798"/>
                </a:lnTo>
                <a:lnTo>
                  <a:pt x="1488" y="866"/>
                </a:lnTo>
                <a:lnTo>
                  <a:pt x="1308" y="1006"/>
                </a:lnTo>
                <a:lnTo>
                  <a:pt x="1132" y="1146"/>
                </a:lnTo>
                <a:lnTo>
                  <a:pt x="1132" y="1146"/>
                </a:lnTo>
                <a:lnTo>
                  <a:pt x="966" y="1278"/>
                </a:lnTo>
                <a:lnTo>
                  <a:pt x="800" y="1408"/>
                </a:lnTo>
                <a:lnTo>
                  <a:pt x="716" y="1472"/>
                </a:lnTo>
                <a:lnTo>
                  <a:pt x="630" y="1536"/>
                </a:lnTo>
                <a:lnTo>
                  <a:pt x="544" y="1598"/>
                </a:lnTo>
                <a:lnTo>
                  <a:pt x="458" y="1658"/>
                </a:lnTo>
                <a:lnTo>
                  <a:pt x="458" y="1658"/>
                </a:lnTo>
                <a:lnTo>
                  <a:pt x="356" y="1724"/>
                </a:lnTo>
                <a:lnTo>
                  <a:pt x="304" y="1756"/>
                </a:lnTo>
                <a:lnTo>
                  <a:pt x="252" y="1786"/>
                </a:lnTo>
                <a:lnTo>
                  <a:pt x="200" y="1816"/>
                </a:lnTo>
                <a:lnTo>
                  <a:pt x="146" y="1842"/>
                </a:lnTo>
                <a:lnTo>
                  <a:pt x="90" y="1868"/>
                </a:lnTo>
                <a:lnTo>
                  <a:pt x="34" y="1892"/>
                </a:lnTo>
                <a:lnTo>
                  <a:pt x="34" y="1892"/>
                </a:lnTo>
                <a:lnTo>
                  <a:pt x="20" y="1898"/>
                </a:lnTo>
                <a:lnTo>
                  <a:pt x="6" y="1904"/>
                </a:lnTo>
                <a:lnTo>
                  <a:pt x="6" y="1904"/>
                </a:lnTo>
                <a:lnTo>
                  <a:pt x="2" y="1906"/>
                </a:lnTo>
                <a:lnTo>
                  <a:pt x="0" y="1910"/>
                </a:lnTo>
                <a:lnTo>
                  <a:pt x="0" y="1914"/>
                </a:lnTo>
                <a:lnTo>
                  <a:pt x="2" y="1918"/>
                </a:lnTo>
                <a:lnTo>
                  <a:pt x="6" y="1924"/>
                </a:lnTo>
                <a:lnTo>
                  <a:pt x="8" y="1932"/>
                </a:lnTo>
                <a:lnTo>
                  <a:pt x="8" y="1932"/>
                </a:lnTo>
                <a:lnTo>
                  <a:pt x="12" y="2038"/>
                </a:lnTo>
                <a:lnTo>
                  <a:pt x="20" y="2142"/>
                </a:lnTo>
                <a:lnTo>
                  <a:pt x="30" y="2248"/>
                </a:lnTo>
                <a:lnTo>
                  <a:pt x="42" y="2352"/>
                </a:lnTo>
                <a:lnTo>
                  <a:pt x="42" y="2352"/>
                </a:lnTo>
                <a:lnTo>
                  <a:pt x="54" y="2446"/>
                </a:lnTo>
                <a:lnTo>
                  <a:pt x="66" y="2540"/>
                </a:lnTo>
                <a:lnTo>
                  <a:pt x="82" y="2632"/>
                </a:lnTo>
                <a:lnTo>
                  <a:pt x="98" y="2724"/>
                </a:lnTo>
                <a:lnTo>
                  <a:pt x="116" y="2818"/>
                </a:lnTo>
                <a:lnTo>
                  <a:pt x="136" y="2910"/>
                </a:lnTo>
                <a:lnTo>
                  <a:pt x="158" y="3002"/>
                </a:lnTo>
                <a:lnTo>
                  <a:pt x="180" y="3092"/>
                </a:lnTo>
                <a:lnTo>
                  <a:pt x="180" y="3092"/>
                </a:lnTo>
                <a:lnTo>
                  <a:pt x="204" y="3180"/>
                </a:lnTo>
                <a:lnTo>
                  <a:pt x="230" y="3268"/>
                </a:lnTo>
                <a:lnTo>
                  <a:pt x="258" y="3354"/>
                </a:lnTo>
                <a:lnTo>
                  <a:pt x="288" y="3440"/>
                </a:lnTo>
                <a:lnTo>
                  <a:pt x="318" y="3524"/>
                </a:lnTo>
                <a:lnTo>
                  <a:pt x="352" y="3610"/>
                </a:lnTo>
                <a:lnTo>
                  <a:pt x="386" y="3694"/>
                </a:lnTo>
                <a:lnTo>
                  <a:pt x="422" y="3776"/>
                </a:lnTo>
                <a:lnTo>
                  <a:pt x="422" y="3776"/>
                </a:lnTo>
                <a:lnTo>
                  <a:pt x="426" y="3784"/>
                </a:lnTo>
                <a:lnTo>
                  <a:pt x="430" y="3790"/>
                </a:lnTo>
                <a:lnTo>
                  <a:pt x="436" y="3792"/>
                </a:lnTo>
                <a:lnTo>
                  <a:pt x="446" y="3794"/>
                </a:lnTo>
                <a:lnTo>
                  <a:pt x="446" y="3794"/>
                </a:lnTo>
                <a:lnTo>
                  <a:pt x="1836" y="3794"/>
                </a:lnTo>
                <a:lnTo>
                  <a:pt x="1836" y="3794"/>
                </a:lnTo>
                <a:lnTo>
                  <a:pt x="1848" y="3792"/>
                </a:lnTo>
                <a:lnTo>
                  <a:pt x="1858" y="3786"/>
                </a:lnTo>
                <a:lnTo>
                  <a:pt x="1858" y="3786"/>
                </a:lnTo>
                <a:lnTo>
                  <a:pt x="1890" y="3764"/>
                </a:lnTo>
                <a:lnTo>
                  <a:pt x="1922" y="3744"/>
                </a:lnTo>
                <a:lnTo>
                  <a:pt x="1956" y="3724"/>
                </a:lnTo>
                <a:lnTo>
                  <a:pt x="1988" y="3704"/>
                </a:lnTo>
                <a:lnTo>
                  <a:pt x="2058" y="3670"/>
                </a:lnTo>
                <a:lnTo>
                  <a:pt x="2128" y="3640"/>
                </a:lnTo>
                <a:lnTo>
                  <a:pt x="2128" y="3640"/>
                </a:lnTo>
                <a:lnTo>
                  <a:pt x="2202" y="3610"/>
                </a:lnTo>
                <a:lnTo>
                  <a:pt x="2278" y="3582"/>
                </a:lnTo>
                <a:lnTo>
                  <a:pt x="2354" y="3558"/>
                </a:lnTo>
                <a:lnTo>
                  <a:pt x="2430" y="3536"/>
                </a:lnTo>
                <a:lnTo>
                  <a:pt x="2506" y="3514"/>
                </a:lnTo>
                <a:lnTo>
                  <a:pt x="2584" y="3496"/>
                </a:lnTo>
                <a:lnTo>
                  <a:pt x="2740" y="3460"/>
                </a:lnTo>
                <a:lnTo>
                  <a:pt x="2740" y="3460"/>
                </a:lnTo>
                <a:lnTo>
                  <a:pt x="2920" y="3420"/>
                </a:lnTo>
                <a:lnTo>
                  <a:pt x="3100" y="3382"/>
                </a:lnTo>
                <a:lnTo>
                  <a:pt x="3280" y="3344"/>
                </a:lnTo>
                <a:lnTo>
                  <a:pt x="3460" y="3302"/>
                </a:lnTo>
                <a:lnTo>
                  <a:pt x="3460" y="3302"/>
                </a:lnTo>
                <a:lnTo>
                  <a:pt x="3608" y="3262"/>
                </a:lnTo>
                <a:lnTo>
                  <a:pt x="3682" y="3242"/>
                </a:lnTo>
                <a:lnTo>
                  <a:pt x="3756" y="3220"/>
                </a:lnTo>
                <a:lnTo>
                  <a:pt x="3828" y="3196"/>
                </a:lnTo>
                <a:lnTo>
                  <a:pt x="3900" y="3172"/>
                </a:lnTo>
                <a:lnTo>
                  <a:pt x="3972" y="3144"/>
                </a:lnTo>
                <a:lnTo>
                  <a:pt x="4044" y="3116"/>
                </a:lnTo>
                <a:lnTo>
                  <a:pt x="4044" y="3116"/>
                </a:lnTo>
                <a:lnTo>
                  <a:pt x="4052" y="3112"/>
                </a:lnTo>
                <a:lnTo>
                  <a:pt x="4058" y="3106"/>
                </a:lnTo>
                <a:lnTo>
                  <a:pt x="4062" y="3098"/>
                </a:lnTo>
                <a:lnTo>
                  <a:pt x="4062" y="3088"/>
                </a:lnTo>
                <a:lnTo>
                  <a:pt x="4062" y="3088"/>
                </a:lnTo>
                <a:lnTo>
                  <a:pt x="4062" y="1608"/>
                </a:lnTo>
                <a:lnTo>
                  <a:pt x="4062" y="1608"/>
                </a:lnTo>
                <a:close/>
              </a:path>
            </a:pathLst>
          </a:custGeom>
          <a:solidFill>
            <a:schemeClr val="accent5"/>
          </a:solidFill>
          <a:ln w="9525">
            <a:noFill/>
            <a:round/>
            <a:headEnd/>
            <a:tailEnd/>
          </a:ln>
        </p:spPr>
        <p:txBody>
          <a:bodyPr vert="horz" wrap="square" lIns="91424" tIns="45712" rIns="91424" bIns="45712" numCol="1" anchor="t" anchorCtr="0" compatLnSpc="1">
            <a:prstTxWarp prst="textNoShape">
              <a:avLst/>
            </a:prstTxWarp>
          </a:bodyPr>
          <a:lstStyle/>
          <a:p>
            <a:endParaRPr lang="en-GB" sz="1800" dirty="0"/>
          </a:p>
        </p:txBody>
      </p:sp>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3636059" y="4005065"/>
            <a:ext cx="4841973" cy="1698343"/>
          </a:xfrm>
          <a:prstGeom prst="rect">
            <a:avLst/>
          </a:prstGeom>
        </p:spPr>
        <p:txBody>
          <a:bodyPr anchor="t">
            <a:noAutofit/>
          </a:bodyPr>
          <a:lstStyle>
            <a:lvl1pPr marL="0" indent="0">
              <a:lnSpc>
                <a:spcPts val="2999"/>
              </a:lnSpc>
              <a:buNone/>
              <a:defRPr sz="2599">
                <a:solidFill>
                  <a:schemeClr val="bg1"/>
                </a:solidFill>
              </a:defRPr>
            </a:lvl1pPr>
            <a:lvl2pPr marL="457109" indent="0">
              <a:buNone/>
              <a:defRPr sz="5999">
                <a:solidFill>
                  <a:schemeClr val="bg1"/>
                </a:solidFill>
              </a:defRPr>
            </a:lvl2pPr>
          </a:lstStyle>
          <a:p>
            <a:pPr lvl="0"/>
            <a:r>
              <a:rPr lang="en-US" dirty="0"/>
              <a:t>Click to insert section title</a:t>
            </a:r>
            <a:endParaRPr lang="pt-PT" dirty="0"/>
          </a:p>
        </p:txBody>
      </p:sp>
    </p:spTree>
    <p:extLst>
      <p:ext uri="{BB962C8B-B14F-4D97-AF65-F5344CB8AC3E}">
        <p14:creationId xmlns:p14="http://schemas.microsoft.com/office/powerpoint/2010/main" val="353206482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pl-PL"/>
          </a:p>
        </p:txBody>
      </p:sp>
    </p:spTree>
    <p:extLst>
      <p:ext uri="{BB962C8B-B14F-4D97-AF65-F5344CB8AC3E}">
        <p14:creationId xmlns:p14="http://schemas.microsoft.com/office/powerpoint/2010/main" val="61214460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Boiler Plate">
    <p:spTree>
      <p:nvGrpSpPr>
        <p:cNvPr id="1" name=""/>
        <p:cNvGrpSpPr/>
        <p:nvPr/>
      </p:nvGrpSpPr>
      <p:grpSpPr>
        <a:xfrm>
          <a:off x="0" y="0"/>
          <a:ext cx="0" cy="0"/>
          <a:chOff x="0" y="0"/>
          <a:chExt cx="0" cy="0"/>
        </a:xfrm>
      </p:grpSpPr>
      <p:sp>
        <p:nvSpPr>
          <p:cNvPr id="7" name="Rectangle 6"/>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14" name="Rectangle 13"/>
          <p:cNvSpPr/>
          <p:nvPr userDrawn="1"/>
        </p:nvSpPr>
        <p:spPr>
          <a:xfrm>
            <a:off x="4902138" y="711920"/>
            <a:ext cx="3844290"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dirty="0">
                <a:solidFill>
                  <a:schemeClr val="tx1"/>
                </a:solidFill>
              </a:rPr>
              <a:t>With more than 190,000 people, Capgemini is present in over 40 countries and celebrates its 50th Anniversary year in 2017. A global leader in consulting, technology and outsourcing services, the Group reported 2016 global revenues of EUR 12.5 billion. Together with its clients, Capgemini creates and delivers business, technology and digital solutions that fit their needs, enabling them to achieve innovation and competitiveness. A deeply multicultural organization, Capgemini has developed its own way of working, </a:t>
            </a:r>
            <a:r>
              <a:rPr lang="en-US" sz="900" dirty="0">
                <a:solidFill>
                  <a:schemeClr val="accent1"/>
                </a:solidFill>
              </a:rPr>
              <a:t>the Collaborative Business Experience™</a:t>
            </a:r>
            <a:r>
              <a:rPr lang="en-US" sz="900" dirty="0">
                <a:solidFill>
                  <a:schemeClr val="tx1"/>
                </a:solidFill>
              </a:rPr>
              <a:t>, and draws on </a:t>
            </a:r>
            <a:r>
              <a:rPr lang="en-US" sz="900" dirty="0">
                <a:solidFill>
                  <a:schemeClr val="accent1"/>
                </a:solidFill>
              </a:rPr>
              <a:t>Rightshore</a:t>
            </a:r>
            <a:r>
              <a:rPr lang="en-US" sz="900" baseline="30000" dirty="0">
                <a:solidFill>
                  <a:schemeClr val="accent1"/>
                </a:solidFill>
              </a:rPr>
              <a:t>®</a:t>
            </a:r>
            <a:r>
              <a:rPr lang="en-US" sz="900" dirty="0">
                <a:solidFill>
                  <a:schemeClr val="tx1"/>
                </a:solidFill>
              </a:rPr>
              <a:t>, its worldwide delivery model.</a:t>
            </a:r>
          </a:p>
        </p:txBody>
      </p:sp>
      <p:sp>
        <p:nvSpPr>
          <p:cNvPr id="15" name="Rectangle 14"/>
          <p:cNvSpPr/>
          <p:nvPr userDrawn="1"/>
        </p:nvSpPr>
        <p:spPr>
          <a:xfrm>
            <a:off x="4902138" y="332656"/>
            <a:ext cx="1664970" cy="2564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16" name="Rectangle 15"/>
          <p:cNvSpPr/>
          <p:nvPr userDrawn="1"/>
        </p:nvSpPr>
        <p:spPr>
          <a:xfrm>
            <a:off x="4902137" y="2420888"/>
            <a:ext cx="2333696"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Learn more about us at</a:t>
            </a:r>
          </a:p>
          <a:p>
            <a:pPr algn="just">
              <a:lnSpc>
                <a:spcPts val="1200"/>
              </a:lnSpc>
            </a:pPr>
            <a:r>
              <a:rPr lang="en-US" sz="1400" dirty="0">
                <a:solidFill>
                  <a:schemeClr val="accent2"/>
                </a:solidFill>
              </a:rPr>
              <a:t>www.capgemini.com</a:t>
            </a:r>
          </a:p>
        </p:txBody>
      </p:sp>
      <p:sp>
        <p:nvSpPr>
          <p:cNvPr id="24" name="Rectangle 23"/>
          <p:cNvSpPr/>
          <p:nvPr userDrawn="1"/>
        </p:nvSpPr>
        <p:spPr>
          <a:xfrm>
            <a:off x="4902139" y="5840970"/>
            <a:ext cx="3914774" cy="369332"/>
          </a:xfrm>
          <a:prstGeom prst="rect">
            <a:avLst/>
          </a:prstGeom>
        </p:spPr>
        <p:txBody>
          <a:bodyPr wrap="square" lIns="0" tIns="0" rIns="0" bIns="0" anchor="b" anchorCtr="0">
            <a:spAutoFit/>
          </a:bodyPr>
          <a:lstStyle/>
          <a:p>
            <a:pPr>
              <a:spcAft>
                <a:spcPts val="600"/>
              </a:spcAft>
            </a:pPr>
            <a:r>
              <a:rPr lang="en-US" sz="600" dirty="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sp>
        <p:nvSpPr>
          <p:cNvPr id="25" name="Rectangle 24">
            <a:hlinkClick r:id="rId2"/>
          </p:cNvPr>
          <p:cNvSpPr/>
          <p:nvPr userDrawn="1"/>
        </p:nvSpPr>
        <p:spPr>
          <a:xfrm>
            <a:off x="5617426" y="3812094"/>
            <a:ext cx="1752066"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dirty="0"/>
          </a:p>
        </p:txBody>
      </p:sp>
      <p:sp>
        <p:nvSpPr>
          <p:cNvPr id="26" name="Rectangle 25">
            <a:hlinkClick r:id="rId3"/>
          </p:cNvPr>
          <p:cNvSpPr/>
          <p:nvPr userDrawn="1"/>
        </p:nvSpPr>
        <p:spPr>
          <a:xfrm>
            <a:off x="8048150" y="3812094"/>
            <a:ext cx="528637"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dirty="0"/>
          </a:p>
        </p:txBody>
      </p:sp>
      <p:sp>
        <p:nvSpPr>
          <p:cNvPr id="27" name="Rectangle 26">
            <a:hlinkClick r:id="rId4"/>
          </p:cNvPr>
          <p:cNvSpPr/>
          <p:nvPr userDrawn="1"/>
        </p:nvSpPr>
        <p:spPr>
          <a:xfrm>
            <a:off x="4899184" y="4445641"/>
            <a:ext cx="1388745" cy="183449"/>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dirty="0"/>
          </a:p>
        </p:txBody>
      </p:sp>
      <p:sp>
        <p:nvSpPr>
          <p:cNvPr id="22" name="Rectangle 21"/>
          <p:cNvSpPr/>
          <p:nvPr userDrawn="1"/>
        </p:nvSpPr>
        <p:spPr>
          <a:xfrm>
            <a:off x="4896036" y="3376215"/>
            <a:ext cx="3844290"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indent="0" algn="just" defTabSz="914217" rtl="0" eaLnBrk="1" fontAlgn="auto" latinLnBrk="0" hangingPunct="1">
              <a:lnSpc>
                <a:spcPts val="1200"/>
              </a:lnSpc>
              <a:spcBef>
                <a:spcPts val="0"/>
              </a:spcBef>
              <a:spcAft>
                <a:spcPts val="0"/>
              </a:spcAft>
              <a:buClrTx/>
              <a:buSzTx/>
              <a:buFontTx/>
              <a:buNone/>
              <a:tabLst/>
              <a:defRPr/>
            </a:pPr>
            <a:r>
              <a:rPr lang="fr-FR" sz="900" kern="1200" dirty="0" err="1">
                <a:solidFill>
                  <a:schemeClr val="tx1"/>
                </a:solidFill>
                <a:latin typeface="+mn-lt"/>
                <a:ea typeface="+mn-ea"/>
                <a:cs typeface="+mn-cs"/>
              </a:rPr>
              <a:t>Established</a:t>
            </a:r>
            <a:r>
              <a:rPr lang="fr-FR" sz="900" kern="1200" dirty="0">
                <a:solidFill>
                  <a:schemeClr val="tx1"/>
                </a:solidFill>
                <a:latin typeface="+mn-lt"/>
                <a:ea typeface="+mn-ea"/>
                <a:cs typeface="+mn-cs"/>
              </a:rPr>
              <a:t> in 1987, Capgemini University </a:t>
            </a:r>
            <a:r>
              <a:rPr lang="fr-FR" sz="900" kern="1200" dirty="0" err="1">
                <a:solidFill>
                  <a:schemeClr val="tx1"/>
                </a:solidFill>
                <a:latin typeface="+mn-lt"/>
                <a:ea typeface="+mn-ea"/>
                <a:cs typeface="+mn-cs"/>
              </a:rPr>
              <a:t>offers</a:t>
            </a:r>
            <a:r>
              <a:rPr lang="fr-FR" sz="900" kern="1200" dirty="0">
                <a:solidFill>
                  <a:schemeClr val="tx1"/>
                </a:solidFill>
                <a:latin typeface="+mn-lt"/>
                <a:ea typeface="+mn-ea"/>
                <a:cs typeface="+mn-cs"/>
              </a:rPr>
              <a:t> training to all of </a:t>
            </a:r>
            <a:r>
              <a:rPr lang="fr-FR" sz="900" kern="1200" dirty="0" err="1">
                <a:solidFill>
                  <a:schemeClr val="tx1"/>
                </a:solidFill>
                <a:latin typeface="+mn-lt"/>
                <a:ea typeface="+mn-ea"/>
                <a:cs typeface="+mn-cs"/>
              </a:rPr>
              <a:t>Capgemini’s</a:t>
            </a:r>
            <a:r>
              <a:rPr lang="fr-FR" sz="900" kern="1200" dirty="0">
                <a:solidFill>
                  <a:schemeClr val="tx1"/>
                </a:solidFill>
                <a:latin typeface="+mn-lt"/>
                <a:ea typeface="+mn-ea"/>
                <a:cs typeface="+mn-cs"/>
              </a:rPr>
              <a:t> </a:t>
            </a:r>
            <a:r>
              <a:rPr lang="fr-FR" sz="900" kern="1200" dirty="0" err="1">
                <a:solidFill>
                  <a:schemeClr val="tx1"/>
                </a:solidFill>
                <a:latin typeface="+mn-lt"/>
                <a:ea typeface="+mn-ea"/>
                <a:cs typeface="+mn-cs"/>
              </a:rPr>
              <a:t>employees</a:t>
            </a:r>
            <a:r>
              <a:rPr lang="fr-FR" sz="900" kern="1200" dirty="0">
                <a:solidFill>
                  <a:schemeClr val="tx1"/>
                </a:solidFill>
                <a:latin typeface="+mn-lt"/>
                <a:ea typeface="+mn-ea"/>
                <a:cs typeface="+mn-cs"/>
              </a:rPr>
              <a:t> </a:t>
            </a:r>
            <a:r>
              <a:rPr lang="fr-FR" sz="900" kern="1200" dirty="0" err="1">
                <a:solidFill>
                  <a:schemeClr val="tx1"/>
                </a:solidFill>
                <a:latin typeface="+mn-lt"/>
                <a:ea typeface="+mn-ea"/>
                <a:cs typeface="+mn-cs"/>
              </a:rPr>
              <a:t>worldwide</a:t>
            </a:r>
            <a:r>
              <a:rPr lang="fr-FR" sz="900" kern="1200" dirty="0">
                <a:solidFill>
                  <a:schemeClr val="tx1"/>
                </a:solidFill>
                <a:latin typeface="+mn-lt"/>
                <a:ea typeface="+mn-ea"/>
                <a:cs typeface="+mn-cs"/>
              </a:rPr>
              <a:t> </a:t>
            </a:r>
            <a:r>
              <a:rPr lang="fr-FR" sz="900" kern="1200" dirty="0" err="1">
                <a:solidFill>
                  <a:schemeClr val="tx1"/>
                </a:solidFill>
                <a:latin typeface="+mn-lt"/>
                <a:ea typeface="+mn-ea"/>
                <a:cs typeface="+mn-cs"/>
              </a:rPr>
              <a:t>through</a:t>
            </a:r>
            <a:r>
              <a:rPr lang="fr-FR" sz="900" kern="1200" dirty="0">
                <a:solidFill>
                  <a:schemeClr val="tx1"/>
                </a:solidFill>
                <a:latin typeface="+mn-lt"/>
                <a:ea typeface="+mn-ea"/>
                <a:cs typeface="+mn-cs"/>
              </a:rPr>
              <a:t> </a:t>
            </a:r>
            <a:r>
              <a:rPr lang="fr-FR" sz="900" kern="1200" dirty="0" err="1">
                <a:solidFill>
                  <a:schemeClr val="tx1"/>
                </a:solidFill>
                <a:latin typeface="+mn-lt"/>
                <a:ea typeface="+mn-ea"/>
                <a:cs typeface="+mn-cs"/>
              </a:rPr>
              <a:t>its</a:t>
            </a:r>
            <a:r>
              <a:rPr lang="fr-FR" sz="900" kern="1200" dirty="0">
                <a:solidFill>
                  <a:schemeClr val="tx1"/>
                </a:solidFill>
                <a:latin typeface="+mn-lt"/>
                <a:ea typeface="+mn-ea"/>
                <a:cs typeface="+mn-cs"/>
              </a:rPr>
              <a:t> international campus (</a:t>
            </a:r>
            <a:r>
              <a:rPr lang="fr-FR" sz="900" kern="1200" dirty="0" err="1">
                <a:solidFill>
                  <a:schemeClr val="tx1"/>
                </a:solidFill>
                <a:latin typeface="+mn-lt"/>
                <a:ea typeface="+mn-ea"/>
                <a:cs typeface="+mn-cs"/>
              </a:rPr>
              <a:t>located</a:t>
            </a:r>
            <a:r>
              <a:rPr lang="fr-FR" sz="900" kern="1200" dirty="0">
                <a:solidFill>
                  <a:schemeClr val="tx1"/>
                </a:solidFill>
                <a:latin typeface="+mn-lt"/>
                <a:ea typeface="+mn-ea"/>
                <a:cs typeface="+mn-cs"/>
              </a:rPr>
              <a:t> </a:t>
            </a:r>
            <a:r>
              <a:rPr lang="fr-FR" sz="900" kern="1200" dirty="0" err="1">
                <a:solidFill>
                  <a:schemeClr val="tx1"/>
                </a:solidFill>
                <a:latin typeface="+mn-lt"/>
                <a:ea typeface="+mn-ea"/>
                <a:cs typeface="+mn-cs"/>
              </a:rPr>
              <a:t>at</a:t>
            </a:r>
            <a:r>
              <a:rPr lang="fr-FR" sz="900" kern="1200" dirty="0">
                <a:solidFill>
                  <a:schemeClr val="tx1"/>
                </a:solidFill>
                <a:latin typeface="+mn-lt"/>
                <a:ea typeface="+mn-ea"/>
                <a:cs typeface="+mn-cs"/>
              </a:rPr>
              <a:t> Les Fontaines, </a:t>
            </a:r>
            <a:r>
              <a:rPr lang="fr-FR" sz="900" kern="1200" dirty="0" err="1">
                <a:solidFill>
                  <a:schemeClr val="tx1"/>
                </a:solidFill>
                <a:latin typeface="+mn-lt"/>
                <a:ea typeface="+mn-ea"/>
                <a:cs typeface="+mn-cs"/>
              </a:rPr>
              <a:t>near</a:t>
            </a:r>
            <a:r>
              <a:rPr lang="fr-FR" sz="900" kern="1200" dirty="0">
                <a:solidFill>
                  <a:schemeClr val="tx1"/>
                </a:solidFill>
                <a:latin typeface="+mn-lt"/>
                <a:ea typeface="+mn-ea"/>
                <a:cs typeface="+mn-cs"/>
              </a:rPr>
              <a:t> Paris) as </a:t>
            </a:r>
            <a:r>
              <a:rPr lang="fr-FR" sz="900" kern="1200" dirty="0" err="1">
                <a:solidFill>
                  <a:schemeClr val="tx1"/>
                </a:solidFill>
                <a:latin typeface="+mn-lt"/>
                <a:ea typeface="+mn-ea"/>
                <a:cs typeface="+mn-cs"/>
              </a:rPr>
              <a:t>well</a:t>
            </a:r>
            <a:r>
              <a:rPr lang="fr-FR" sz="900" kern="1200" dirty="0">
                <a:solidFill>
                  <a:schemeClr val="tx1"/>
                </a:solidFill>
                <a:latin typeface="+mn-lt"/>
                <a:ea typeface="+mn-ea"/>
                <a:cs typeface="+mn-cs"/>
              </a:rPr>
              <a:t> as </a:t>
            </a:r>
            <a:r>
              <a:rPr lang="fr-FR" sz="900" kern="1200" dirty="0" err="1">
                <a:solidFill>
                  <a:schemeClr val="tx1"/>
                </a:solidFill>
                <a:latin typeface="+mn-lt"/>
                <a:ea typeface="+mn-ea"/>
                <a:cs typeface="+mn-cs"/>
              </a:rPr>
              <a:t>through</a:t>
            </a:r>
            <a:r>
              <a:rPr lang="fr-FR" sz="900" kern="1200" dirty="0">
                <a:solidFill>
                  <a:schemeClr val="tx1"/>
                </a:solidFill>
                <a:latin typeface="+mn-lt"/>
                <a:ea typeface="+mn-ea"/>
                <a:cs typeface="+mn-cs"/>
              </a:rPr>
              <a:t> </a:t>
            </a:r>
            <a:r>
              <a:rPr lang="fr-FR" sz="900" kern="1200" dirty="0" err="1">
                <a:solidFill>
                  <a:schemeClr val="tx1"/>
                </a:solidFill>
                <a:latin typeface="+mn-lt"/>
                <a:ea typeface="+mn-ea"/>
                <a:cs typeface="+mn-cs"/>
              </a:rPr>
              <a:t>virtual</a:t>
            </a:r>
            <a:r>
              <a:rPr lang="fr-FR" sz="900" kern="1200" dirty="0">
                <a:solidFill>
                  <a:schemeClr val="tx1"/>
                </a:solidFill>
                <a:latin typeface="+mn-lt"/>
                <a:ea typeface="+mn-ea"/>
                <a:cs typeface="+mn-cs"/>
              </a:rPr>
              <a:t> </a:t>
            </a:r>
            <a:r>
              <a:rPr lang="fr-FR" sz="900" kern="1200" dirty="0" err="1">
                <a:solidFill>
                  <a:schemeClr val="tx1"/>
                </a:solidFill>
                <a:latin typeface="+mn-lt"/>
                <a:ea typeface="+mn-ea"/>
                <a:cs typeface="+mn-cs"/>
              </a:rPr>
              <a:t>classrooms</a:t>
            </a:r>
            <a:r>
              <a:rPr lang="fr-FR" sz="900" kern="1200" dirty="0">
                <a:solidFill>
                  <a:schemeClr val="tx1"/>
                </a:solidFill>
                <a:latin typeface="+mn-lt"/>
                <a:ea typeface="+mn-ea"/>
                <a:cs typeface="+mn-cs"/>
              </a:rPr>
              <a:t> and e-</a:t>
            </a:r>
            <a:r>
              <a:rPr lang="fr-FR" sz="900" kern="1200" dirty="0" err="1">
                <a:solidFill>
                  <a:schemeClr val="tx1"/>
                </a:solidFill>
                <a:latin typeface="+mn-lt"/>
                <a:ea typeface="+mn-ea"/>
                <a:cs typeface="+mn-cs"/>
              </a:rPr>
              <a:t>learning</a:t>
            </a:r>
            <a:r>
              <a:rPr lang="fr-FR" sz="900" kern="1200" dirty="0">
                <a:solidFill>
                  <a:schemeClr val="tx1"/>
                </a:solidFill>
                <a:latin typeface="+mn-lt"/>
                <a:ea typeface="+mn-ea"/>
                <a:cs typeface="+mn-cs"/>
              </a:rPr>
              <a:t> programs. </a:t>
            </a:r>
            <a:r>
              <a:rPr lang="pl-PL" sz="900" kern="1200" dirty="0">
                <a:solidFill>
                  <a:schemeClr val="tx1"/>
                </a:solidFill>
                <a:latin typeface="+mn-lt"/>
                <a:ea typeface="+mn-ea"/>
                <a:cs typeface="+mn-cs"/>
              </a:rPr>
              <a:t>                                                                                                                                                                                                                        </a:t>
            </a:r>
            <a:r>
              <a:rPr lang="fr-FR" sz="900" kern="1200" dirty="0">
                <a:solidFill>
                  <a:schemeClr val="tx1"/>
                </a:solidFill>
                <a:latin typeface="+mn-lt"/>
                <a:ea typeface="+mn-ea"/>
                <a:cs typeface="+mn-cs"/>
              </a:rPr>
              <a:t>As a </a:t>
            </a:r>
            <a:r>
              <a:rPr lang="fr-FR" sz="900" kern="1200" dirty="0" err="1">
                <a:solidFill>
                  <a:schemeClr val="tx1"/>
                </a:solidFill>
                <a:latin typeface="+mn-lt"/>
                <a:ea typeface="+mn-ea"/>
                <a:cs typeface="+mn-cs"/>
              </a:rPr>
              <a:t>tool</a:t>
            </a:r>
            <a:r>
              <a:rPr lang="fr-FR" sz="900" kern="1200" dirty="0">
                <a:solidFill>
                  <a:schemeClr val="tx1"/>
                </a:solidFill>
                <a:latin typeface="+mn-lt"/>
                <a:ea typeface="+mn-ea"/>
                <a:cs typeface="+mn-cs"/>
              </a:rPr>
              <a:t> for the </a:t>
            </a:r>
            <a:r>
              <a:rPr lang="fr-FR" sz="900" kern="1200" dirty="0" err="1">
                <a:solidFill>
                  <a:schemeClr val="tx1"/>
                </a:solidFill>
                <a:latin typeface="+mn-lt"/>
                <a:ea typeface="+mn-ea"/>
                <a:cs typeface="+mn-cs"/>
              </a:rPr>
              <a:t>alignment</a:t>
            </a:r>
            <a:r>
              <a:rPr lang="fr-FR" sz="900" kern="1200" dirty="0">
                <a:solidFill>
                  <a:schemeClr val="tx1"/>
                </a:solidFill>
                <a:latin typeface="+mn-lt"/>
                <a:ea typeface="+mn-ea"/>
                <a:cs typeface="+mn-cs"/>
              </a:rPr>
              <a:t> and </a:t>
            </a:r>
            <a:r>
              <a:rPr lang="fr-FR" sz="900" kern="1200" dirty="0" err="1">
                <a:solidFill>
                  <a:schemeClr val="tx1"/>
                </a:solidFill>
                <a:latin typeface="+mn-lt"/>
                <a:ea typeface="+mn-ea"/>
                <a:cs typeface="+mn-cs"/>
              </a:rPr>
              <a:t>acceleration</a:t>
            </a:r>
            <a:r>
              <a:rPr lang="fr-FR" sz="900" kern="1200" dirty="0">
                <a:solidFill>
                  <a:schemeClr val="tx1"/>
                </a:solidFill>
                <a:latin typeface="+mn-lt"/>
                <a:ea typeface="+mn-ea"/>
                <a:cs typeface="+mn-cs"/>
              </a:rPr>
              <a:t> of Capgemini and clients’ ambitions, the University </a:t>
            </a:r>
            <a:r>
              <a:rPr lang="fr-FR" sz="900" kern="1200" dirty="0" err="1">
                <a:solidFill>
                  <a:schemeClr val="tx1"/>
                </a:solidFill>
                <a:latin typeface="+mn-lt"/>
                <a:ea typeface="+mn-ea"/>
                <a:cs typeface="+mn-cs"/>
              </a:rPr>
              <a:t>plays</a:t>
            </a:r>
            <a:r>
              <a:rPr lang="fr-FR" sz="900" kern="1200" dirty="0">
                <a:solidFill>
                  <a:schemeClr val="tx1"/>
                </a:solidFill>
                <a:latin typeface="+mn-lt"/>
                <a:ea typeface="+mn-ea"/>
                <a:cs typeface="+mn-cs"/>
              </a:rPr>
              <a:t> a </a:t>
            </a:r>
            <a:r>
              <a:rPr lang="fr-FR" sz="900" kern="1200" dirty="0" err="1">
                <a:solidFill>
                  <a:schemeClr val="tx1"/>
                </a:solidFill>
                <a:latin typeface="+mn-lt"/>
                <a:ea typeface="+mn-ea"/>
                <a:cs typeface="+mn-cs"/>
              </a:rPr>
              <a:t>key</a:t>
            </a:r>
            <a:r>
              <a:rPr lang="fr-FR" sz="900" kern="1200" dirty="0">
                <a:solidFill>
                  <a:schemeClr val="tx1"/>
                </a:solidFill>
                <a:latin typeface="+mn-lt"/>
                <a:ea typeface="+mn-ea"/>
                <a:cs typeface="+mn-cs"/>
              </a:rPr>
              <a:t> </a:t>
            </a:r>
            <a:r>
              <a:rPr lang="fr-FR" sz="900" kern="1200" dirty="0" err="1">
                <a:solidFill>
                  <a:schemeClr val="tx1"/>
                </a:solidFill>
                <a:latin typeface="+mn-lt"/>
                <a:ea typeface="+mn-ea"/>
                <a:cs typeface="+mn-cs"/>
              </a:rPr>
              <a:t>role</a:t>
            </a:r>
            <a:r>
              <a:rPr lang="fr-FR" sz="900" kern="1200" dirty="0">
                <a:solidFill>
                  <a:schemeClr val="tx1"/>
                </a:solidFill>
                <a:latin typeface="+mn-lt"/>
                <a:ea typeface="+mn-ea"/>
                <a:cs typeface="+mn-cs"/>
              </a:rPr>
              <a:t> in </a:t>
            </a:r>
            <a:r>
              <a:rPr lang="fr-FR" sz="900" kern="1200" dirty="0" err="1">
                <a:solidFill>
                  <a:schemeClr val="tx1"/>
                </a:solidFill>
                <a:latin typeface="+mn-lt"/>
                <a:ea typeface="+mn-ea"/>
                <a:cs typeface="+mn-cs"/>
              </a:rPr>
              <a:t>developing</a:t>
            </a:r>
            <a:r>
              <a:rPr lang="fr-FR" sz="900" kern="1200" dirty="0">
                <a:solidFill>
                  <a:schemeClr val="tx1"/>
                </a:solidFill>
                <a:latin typeface="+mn-lt"/>
                <a:ea typeface="+mn-ea"/>
                <a:cs typeface="+mn-cs"/>
              </a:rPr>
              <a:t> </a:t>
            </a:r>
            <a:r>
              <a:rPr lang="fr-FR" sz="900" kern="1200" dirty="0" err="1">
                <a:solidFill>
                  <a:schemeClr val="tx1"/>
                </a:solidFill>
                <a:latin typeface="+mn-lt"/>
                <a:ea typeface="+mn-ea"/>
                <a:cs typeface="+mn-cs"/>
              </a:rPr>
              <a:t>employees</a:t>
            </a:r>
            <a:r>
              <a:rPr lang="fr-FR" sz="900" kern="1200" dirty="0">
                <a:solidFill>
                  <a:schemeClr val="tx1"/>
                </a:solidFill>
                <a:latin typeface="+mn-lt"/>
                <a:ea typeface="+mn-ea"/>
                <a:cs typeface="+mn-cs"/>
              </a:rPr>
              <a:t>’ </a:t>
            </a:r>
            <a:r>
              <a:rPr lang="fr-FR" sz="900" kern="1200" dirty="0" err="1">
                <a:solidFill>
                  <a:schemeClr val="tx1"/>
                </a:solidFill>
                <a:latin typeface="+mn-lt"/>
                <a:ea typeface="+mn-ea"/>
                <a:cs typeface="+mn-cs"/>
              </a:rPr>
              <a:t>skills</a:t>
            </a:r>
            <a:r>
              <a:rPr lang="fr-FR" sz="900" kern="1200" dirty="0">
                <a:solidFill>
                  <a:schemeClr val="tx1"/>
                </a:solidFill>
                <a:latin typeface="+mn-lt"/>
                <a:ea typeface="+mn-ea"/>
                <a:cs typeface="+mn-cs"/>
              </a:rPr>
              <a:t> and </a:t>
            </a:r>
            <a:r>
              <a:rPr lang="fr-FR" sz="900" kern="1200" dirty="0" err="1">
                <a:solidFill>
                  <a:schemeClr val="tx1"/>
                </a:solidFill>
                <a:latin typeface="+mn-lt"/>
                <a:ea typeface="+mn-ea"/>
                <a:cs typeface="+mn-cs"/>
              </a:rPr>
              <a:t>capabilities</a:t>
            </a:r>
            <a:r>
              <a:rPr lang="fr-FR" sz="900" kern="1200" dirty="0">
                <a:solidFill>
                  <a:schemeClr val="tx1"/>
                </a:solidFill>
                <a:latin typeface="+mn-lt"/>
                <a:ea typeface="+mn-ea"/>
                <a:cs typeface="+mn-cs"/>
              </a:rPr>
              <a:t> by </a:t>
            </a:r>
            <a:r>
              <a:rPr lang="fr-FR" sz="900" kern="1200" dirty="0" err="1">
                <a:solidFill>
                  <a:schemeClr val="tx1"/>
                </a:solidFill>
                <a:latin typeface="+mn-lt"/>
                <a:ea typeface="+mn-ea"/>
                <a:cs typeface="+mn-cs"/>
              </a:rPr>
              <a:t>delivering</a:t>
            </a:r>
            <a:r>
              <a:rPr lang="fr-FR" sz="900" kern="1200" dirty="0">
                <a:solidFill>
                  <a:schemeClr val="tx1"/>
                </a:solidFill>
                <a:latin typeface="+mn-lt"/>
                <a:ea typeface="+mn-ea"/>
                <a:cs typeface="+mn-cs"/>
              </a:rPr>
              <a:t> a </a:t>
            </a:r>
            <a:r>
              <a:rPr lang="fr-FR" sz="900" kern="1200" dirty="0" err="1">
                <a:solidFill>
                  <a:schemeClr val="tx1"/>
                </a:solidFill>
                <a:latin typeface="+mn-lt"/>
                <a:ea typeface="+mn-ea"/>
                <a:cs typeface="+mn-cs"/>
              </a:rPr>
              <a:t>learner</a:t>
            </a:r>
            <a:r>
              <a:rPr lang="fr-FR" sz="900" kern="1200" dirty="0">
                <a:solidFill>
                  <a:schemeClr val="tx1"/>
                </a:solidFill>
                <a:latin typeface="+mn-lt"/>
                <a:ea typeface="+mn-ea"/>
                <a:cs typeface="+mn-cs"/>
              </a:rPr>
              <a:t> </a:t>
            </a:r>
            <a:r>
              <a:rPr lang="fr-FR" sz="900" kern="1200" dirty="0" err="1">
                <a:solidFill>
                  <a:schemeClr val="tx1"/>
                </a:solidFill>
                <a:latin typeface="+mn-lt"/>
                <a:ea typeface="+mn-ea"/>
                <a:cs typeface="+mn-cs"/>
              </a:rPr>
              <a:t>centric</a:t>
            </a:r>
            <a:r>
              <a:rPr lang="fr-FR" sz="900" kern="1200" dirty="0">
                <a:solidFill>
                  <a:schemeClr val="tx1"/>
                </a:solidFill>
                <a:latin typeface="+mn-lt"/>
                <a:ea typeface="+mn-ea"/>
                <a:cs typeface="+mn-cs"/>
              </a:rPr>
              <a:t> end-to-end </a:t>
            </a:r>
            <a:r>
              <a:rPr lang="fr-FR" sz="900" kern="1200" dirty="0" err="1">
                <a:solidFill>
                  <a:schemeClr val="tx1"/>
                </a:solidFill>
                <a:latin typeface="+mn-lt"/>
                <a:ea typeface="+mn-ea"/>
                <a:cs typeface="+mn-cs"/>
              </a:rPr>
              <a:t>experience</a:t>
            </a:r>
            <a:r>
              <a:rPr lang="fr-FR" sz="900" kern="1200" dirty="0">
                <a:solidFill>
                  <a:schemeClr val="tx1"/>
                </a:solidFill>
                <a:latin typeface="+mn-lt"/>
                <a:ea typeface="+mn-ea"/>
                <a:cs typeface="+mn-cs"/>
              </a:rPr>
              <a:t>, </a:t>
            </a:r>
            <a:r>
              <a:rPr lang="fr-FR" sz="900" kern="1200" dirty="0" err="1">
                <a:solidFill>
                  <a:schemeClr val="tx1"/>
                </a:solidFill>
                <a:latin typeface="+mn-lt"/>
                <a:ea typeface="+mn-ea"/>
                <a:cs typeface="+mn-cs"/>
              </a:rPr>
              <a:t>leveraging</a:t>
            </a:r>
            <a:r>
              <a:rPr lang="fr-FR" sz="900" kern="1200" dirty="0">
                <a:solidFill>
                  <a:schemeClr val="tx1"/>
                </a:solidFill>
                <a:latin typeface="+mn-lt"/>
                <a:ea typeface="+mn-ea"/>
                <a:cs typeface="+mn-cs"/>
              </a:rPr>
              <a:t> the </a:t>
            </a:r>
            <a:r>
              <a:rPr lang="fr-FR" sz="900" kern="1200" dirty="0" err="1">
                <a:solidFill>
                  <a:schemeClr val="tx1"/>
                </a:solidFill>
                <a:latin typeface="+mn-lt"/>
                <a:ea typeface="+mn-ea"/>
                <a:cs typeface="+mn-cs"/>
              </a:rPr>
              <a:t>principles</a:t>
            </a:r>
            <a:r>
              <a:rPr lang="fr-FR" sz="900" kern="1200" dirty="0">
                <a:solidFill>
                  <a:schemeClr val="tx1"/>
                </a:solidFill>
                <a:latin typeface="+mn-lt"/>
                <a:ea typeface="+mn-ea"/>
                <a:cs typeface="+mn-cs"/>
              </a:rPr>
              <a:t> of Digital Age Learning. Capgemini University </a:t>
            </a:r>
            <a:r>
              <a:rPr lang="fr-FR" sz="900" kern="1200" dirty="0" err="1">
                <a:solidFill>
                  <a:schemeClr val="tx1"/>
                </a:solidFill>
                <a:latin typeface="+mn-lt"/>
                <a:ea typeface="+mn-ea"/>
                <a:cs typeface="+mn-cs"/>
              </a:rPr>
              <a:t>was</a:t>
            </a:r>
            <a:r>
              <a:rPr lang="fr-FR" sz="900" kern="1200" dirty="0">
                <a:solidFill>
                  <a:schemeClr val="tx1"/>
                </a:solidFill>
                <a:latin typeface="+mn-lt"/>
                <a:ea typeface="+mn-ea"/>
                <a:cs typeface="+mn-cs"/>
              </a:rPr>
              <a:t> first </a:t>
            </a:r>
            <a:r>
              <a:rPr lang="fr-FR" sz="900" kern="1200" dirty="0" err="1">
                <a:solidFill>
                  <a:schemeClr val="tx1"/>
                </a:solidFill>
                <a:latin typeface="+mn-lt"/>
                <a:ea typeface="+mn-ea"/>
                <a:cs typeface="+mn-cs"/>
              </a:rPr>
              <a:t>accredited</a:t>
            </a:r>
            <a:r>
              <a:rPr lang="fr-FR" sz="900" kern="1200" dirty="0">
                <a:solidFill>
                  <a:schemeClr val="tx1"/>
                </a:solidFill>
                <a:latin typeface="+mn-lt"/>
                <a:ea typeface="+mn-ea"/>
                <a:cs typeface="+mn-cs"/>
              </a:rPr>
              <a:t> by the </a:t>
            </a:r>
            <a:r>
              <a:rPr lang="fr-FR" sz="900" kern="1200" dirty="0" err="1">
                <a:solidFill>
                  <a:schemeClr val="tx1"/>
                </a:solidFill>
                <a:latin typeface="+mn-lt"/>
                <a:ea typeface="+mn-ea"/>
                <a:cs typeface="+mn-cs"/>
              </a:rPr>
              <a:t>European</a:t>
            </a:r>
            <a:r>
              <a:rPr lang="fr-FR" sz="900" kern="1200" dirty="0">
                <a:solidFill>
                  <a:schemeClr val="tx1"/>
                </a:solidFill>
                <a:latin typeface="+mn-lt"/>
                <a:ea typeface="+mn-ea"/>
                <a:cs typeface="+mn-cs"/>
              </a:rPr>
              <a:t> </a:t>
            </a:r>
            <a:r>
              <a:rPr lang="fr-FR" sz="900" kern="1200" dirty="0" err="1">
                <a:solidFill>
                  <a:schemeClr val="tx1"/>
                </a:solidFill>
                <a:latin typeface="+mn-lt"/>
                <a:ea typeface="+mn-ea"/>
                <a:cs typeface="+mn-cs"/>
              </a:rPr>
              <a:t>Foundation</a:t>
            </a:r>
            <a:r>
              <a:rPr lang="fr-FR" sz="900" kern="1200" dirty="0">
                <a:solidFill>
                  <a:schemeClr val="tx1"/>
                </a:solidFill>
                <a:latin typeface="+mn-lt"/>
                <a:ea typeface="+mn-ea"/>
                <a:cs typeface="+mn-cs"/>
              </a:rPr>
              <a:t> for Management </a:t>
            </a:r>
            <a:r>
              <a:rPr lang="fr-FR" sz="900" kern="1200" dirty="0" err="1">
                <a:solidFill>
                  <a:schemeClr val="tx1"/>
                </a:solidFill>
                <a:latin typeface="+mn-lt"/>
                <a:ea typeface="+mn-ea"/>
                <a:cs typeface="+mn-cs"/>
              </a:rPr>
              <a:t>Development</a:t>
            </a:r>
            <a:r>
              <a:rPr lang="fr-FR" sz="900" kern="1200" dirty="0">
                <a:solidFill>
                  <a:schemeClr val="tx1"/>
                </a:solidFill>
                <a:latin typeface="+mn-lt"/>
                <a:ea typeface="+mn-ea"/>
                <a:cs typeface="+mn-cs"/>
              </a:rPr>
              <a:t> (EFMD) in 2009, and </a:t>
            </a:r>
            <a:r>
              <a:rPr lang="fr-FR" sz="900" kern="1200" dirty="0" err="1">
                <a:solidFill>
                  <a:schemeClr val="tx1"/>
                </a:solidFill>
                <a:latin typeface="+mn-lt"/>
                <a:ea typeface="+mn-ea"/>
                <a:cs typeface="+mn-cs"/>
              </a:rPr>
              <a:t>reaccredited</a:t>
            </a:r>
            <a:r>
              <a:rPr lang="fr-FR" sz="900" kern="1200" dirty="0">
                <a:solidFill>
                  <a:schemeClr val="tx1"/>
                </a:solidFill>
                <a:latin typeface="+mn-lt"/>
                <a:ea typeface="+mn-ea"/>
                <a:cs typeface="+mn-cs"/>
              </a:rPr>
              <a:t> in 2014. In 2016 the University </a:t>
            </a:r>
            <a:r>
              <a:rPr lang="fr-FR" sz="900" kern="1200" dirty="0" err="1">
                <a:solidFill>
                  <a:schemeClr val="tx1"/>
                </a:solidFill>
                <a:latin typeface="+mn-lt"/>
                <a:ea typeface="+mn-ea"/>
                <a:cs typeface="+mn-cs"/>
              </a:rPr>
              <a:t>delivered</a:t>
            </a:r>
            <a:r>
              <a:rPr lang="fr-FR" sz="900" kern="1200" dirty="0">
                <a:solidFill>
                  <a:schemeClr val="tx1"/>
                </a:solidFill>
                <a:latin typeface="+mn-lt"/>
                <a:ea typeface="+mn-ea"/>
                <a:cs typeface="+mn-cs"/>
              </a:rPr>
              <a:t> over 4.1 million </a:t>
            </a:r>
            <a:r>
              <a:rPr lang="fr-FR" sz="900" kern="1200" dirty="0" err="1">
                <a:solidFill>
                  <a:schemeClr val="tx1"/>
                </a:solidFill>
                <a:latin typeface="+mn-lt"/>
                <a:ea typeface="+mn-ea"/>
                <a:cs typeface="+mn-cs"/>
              </a:rPr>
              <a:t>learning</a:t>
            </a:r>
            <a:r>
              <a:rPr lang="fr-FR" sz="900" kern="1200" dirty="0">
                <a:solidFill>
                  <a:schemeClr val="tx1"/>
                </a:solidFill>
                <a:latin typeface="+mn-lt"/>
                <a:ea typeface="+mn-ea"/>
                <a:cs typeface="+mn-cs"/>
              </a:rPr>
              <a:t> </a:t>
            </a:r>
            <a:r>
              <a:rPr lang="fr-FR" sz="900" kern="1200" dirty="0" err="1">
                <a:solidFill>
                  <a:schemeClr val="tx1"/>
                </a:solidFill>
                <a:latin typeface="+mn-lt"/>
                <a:ea typeface="+mn-ea"/>
                <a:cs typeface="+mn-cs"/>
              </a:rPr>
              <a:t>hours</a:t>
            </a:r>
            <a:r>
              <a:rPr lang="fr-FR" sz="900" kern="1200" dirty="0">
                <a:solidFill>
                  <a:schemeClr val="tx1"/>
                </a:solidFill>
                <a:latin typeface="+mn-lt"/>
                <a:ea typeface="+mn-ea"/>
                <a:cs typeface="+mn-cs"/>
              </a:rPr>
              <a:t> to over 182,000 </a:t>
            </a:r>
            <a:r>
              <a:rPr lang="fr-FR" sz="900" kern="1200" dirty="0" err="1">
                <a:solidFill>
                  <a:schemeClr val="tx1"/>
                </a:solidFill>
                <a:latin typeface="+mn-lt"/>
                <a:ea typeface="+mn-ea"/>
                <a:cs typeface="+mn-cs"/>
              </a:rPr>
              <a:t>employees</a:t>
            </a:r>
            <a:r>
              <a:rPr lang="fr-FR" sz="900" kern="1200" dirty="0">
                <a:solidFill>
                  <a:schemeClr val="tx1"/>
                </a:solidFill>
                <a:latin typeface="+mn-lt"/>
                <a:ea typeface="+mn-ea"/>
                <a:cs typeface="+mn-cs"/>
              </a:rPr>
              <a:t>. </a:t>
            </a:r>
            <a:endParaRPr lang="en-US" sz="900" kern="1200" dirty="0">
              <a:solidFill>
                <a:schemeClr val="tx1"/>
              </a:solidFill>
              <a:latin typeface="+mn-lt"/>
              <a:ea typeface="+mn-ea"/>
              <a:cs typeface="+mn-cs"/>
            </a:endParaRPr>
          </a:p>
          <a:p>
            <a:pPr algn="just">
              <a:lnSpc>
                <a:spcPts val="1200"/>
              </a:lnSpc>
            </a:pPr>
            <a:endParaRPr lang="en-US" sz="900" kern="1200" dirty="0">
              <a:solidFill>
                <a:schemeClr val="tx1"/>
              </a:solidFill>
              <a:latin typeface="+mn-lt"/>
              <a:ea typeface="+mn-ea"/>
              <a:cs typeface="+mn-cs"/>
            </a:endParaRPr>
          </a:p>
        </p:txBody>
      </p:sp>
      <p:sp>
        <p:nvSpPr>
          <p:cNvPr id="28" name="Rectangle 27"/>
          <p:cNvSpPr/>
          <p:nvPr userDrawn="1"/>
        </p:nvSpPr>
        <p:spPr>
          <a:xfrm>
            <a:off x="4896036" y="2996952"/>
            <a:ext cx="2843766" cy="2564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a:t>
            </a:r>
            <a:r>
              <a:rPr lang="en-US" sz="1400" kern="1200" dirty="0">
                <a:solidFill>
                  <a:schemeClr val="accent1"/>
                </a:solidFill>
                <a:latin typeface="+mn-lt"/>
                <a:ea typeface="+mn-ea"/>
                <a:cs typeface="+mn-cs"/>
              </a:rPr>
              <a:t>Capgemini</a:t>
            </a:r>
            <a:r>
              <a:rPr lang="pl-PL" sz="1400" kern="1200" dirty="0">
                <a:solidFill>
                  <a:schemeClr val="accent1"/>
                </a:solidFill>
                <a:latin typeface="+mn-lt"/>
                <a:ea typeface="+mn-ea"/>
                <a:cs typeface="+mn-cs"/>
              </a:rPr>
              <a:t> </a:t>
            </a:r>
            <a:r>
              <a:rPr lang="en-US" sz="1400" kern="1200" dirty="0">
                <a:solidFill>
                  <a:schemeClr val="accent1"/>
                </a:solidFill>
                <a:latin typeface="+mn-lt"/>
                <a:ea typeface="+mn-ea"/>
                <a:cs typeface="+mn-cs"/>
              </a:rPr>
              <a:t>University</a:t>
            </a:r>
          </a:p>
        </p:txBody>
      </p:sp>
      <p:sp>
        <p:nvSpPr>
          <p:cNvPr id="30" name="Rectangle 29"/>
          <p:cNvSpPr/>
          <p:nvPr userDrawn="1"/>
        </p:nvSpPr>
        <p:spPr>
          <a:xfrm>
            <a:off x="4896036" y="5157744"/>
            <a:ext cx="4374486"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Learn more about us at</a:t>
            </a:r>
          </a:p>
          <a:p>
            <a:pPr marL="0" indent="0" algn="l"/>
            <a:r>
              <a:rPr lang="en-US" sz="1200" kern="1200" dirty="0">
                <a:solidFill>
                  <a:schemeClr val="accent2"/>
                </a:solidFill>
                <a:latin typeface="+mn-lt"/>
                <a:ea typeface="+mn-ea"/>
                <a:cs typeface="+mn-cs"/>
              </a:rPr>
              <a:t>www.capgemini.com/careers/your-career-path/capgemini-university</a:t>
            </a:r>
          </a:p>
        </p:txBody>
      </p:sp>
      <p:sp>
        <p:nvSpPr>
          <p:cNvPr id="31" name="Freeform 5"/>
          <p:cNvSpPr>
            <a:spLocks/>
          </p:cNvSpPr>
          <p:nvPr userDrawn="1"/>
        </p:nvSpPr>
        <p:spPr bwMode="auto">
          <a:xfrm>
            <a:off x="-20765" y="-146"/>
            <a:ext cx="5812265" cy="6858037"/>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 name="connsiteX0" fmla="*/ 2507 w 10000"/>
              <a:gd name="connsiteY0" fmla="*/ 0 h 10000"/>
              <a:gd name="connsiteX1" fmla="*/ 0 w 10000"/>
              <a:gd name="connsiteY1" fmla="*/ 0 h 10000"/>
              <a:gd name="connsiteX2" fmla="*/ 0 w 10000"/>
              <a:gd name="connsiteY2" fmla="*/ 10000 h 10000"/>
              <a:gd name="connsiteX3" fmla="*/ 10000 w 10000"/>
              <a:gd name="connsiteY3" fmla="*/ 10000 h 10000"/>
              <a:gd name="connsiteX4" fmla="*/ 10000 w 10000"/>
              <a:gd name="connsiteY4" fmla="*/ 9989 h 10000"/>
              <a:gd name="connsiteX5" fmla="*/ 525 w 10000"/>
              <a:gd name="connsiteY5" fmla="*/ 9989 h 10000"/>
              <a:gd name="connsiteX6" fmla="*/ 6152 w 10000"/>
              <a:gd name="connsiteY6" fmla="*/ 4435 h 10000"/>
              <a:gd name="connsiteX7" fmla="*/ 2942 w 10000"/>
              <a:gd name="connsiteY7" fmla="*/ 2322 h 10000"/>
              <a:gd name="connsiteX0" fmla="*/ 802 w 10000"/>
              <a:gd name="connsiteY0" fmla="*/ 2322 h 10000"/>
              <a:gd name="connsiteX1" fmla="*/ 0 w 10000"/>
              <a:gd name="connsiteY1" fmla="*/ 0 h 10000"/>
              <a:gd name="connsiteX2" fmla="*/ 0 w 10000"/>
              <a:gd name="connsiteY2" fmla="*/ 10000 h 10000"/>
              <a:gd name="connsiteX3" fmla="*/ 10000 w 10000"/>
              <a:gd name="connsiteY3" fmla="*/ 10000 h 10000"/>
              <a:gd name="connsiteX4" fmla="*/ 10000 w 10000"/>
              <a:gd name="connsiteY4" fmla="*/ 9989 h 10000"/>
              <a:gd name="connsiteX5" fmla="*/ 525 w 10000"/>
              <a:gd name="connsiteY5" fmla="*/ 9989 h 10000"/>
              <a:gd name="connsiteX6" fmla="*/ 6152 w 10000"/>
              <a:gd name="connsiteY6" fmla="*/ 4435 h 10000"/>
              <a:gd name="connsiteX7" fmla="*/ 2942 w 10000"/>
              <a:gd name="connsiteY7" fmla="*/ 2322 h 10000"/>
              <a:gd name="connsiteX0" fmla="*/ 2541 w 11739"/>
              <a:gd name="connsiteY0" fmla="*/ 528 h 8206"/>
              <a:gd name="connsiteX1" fmla="*/ 0 w 11739"/>
              <a:gd name="connsiteY1" fmla="*/ 0 h 8206"/>
              <a:gd name="connsiteX2" fmla="*/ 1739 w 11739"/>
              <a:gd name="connsiteY2" fmla="*/ 8206 h 8206"/>
              <a:gd name="connsiteX3" fmla="*/ 11739 w 11739"/>
              <a:gd name="connsiteY3" fmla="*/ 8206 h 8206"/>
              <a:gd name="connsiteX4" fmla="*/ 11739 w 11739"/>
              <a:gd name="connsiteY4" fmla="*/ 8195 h 8206"/>
              <a:gd name="connsiteX5" fmla="*/ 2264 w 11739"/>
              <a:gd name="connsiteY5" fmla="*/ 8195 h 8206"/>
              <a:gd name="connsiteX6" fmla="*/ 7891 w 11739"/>
              <a:gd name="connsiteY6" fmla="*/ 2641 h 8206"/>
              <a:gd name="connsiteX7" fmla="*/ 4681 w 11739"/>
              <a:gd name="connsiteY7" fmla="*/ 528 h 8206"/>
              <a:gd name="connsiteX0" fmla="*/ 684 w 8519"/>
              <a:gd name="connsiteY0" fmla="*/ 0 h 9357"/>
              <a:gd name="connsiteX1" fmla="*/ 0 w 8519"/>
              <a:gd name="connsiteY1" fmla="*/ 9357 h 9357"/>
              <a:gd name="connsiteX2" fmla="*/ 8519 w 8519"/>
              <a:gd name="connsiteY2" fmla="*/ 9357 h 9357"/>
              <a:gd name="connsiteX3" fmla="*/ 8519 w 8519"/>
              <a:gd name="connsiteY3" fmla="*/ 9344 h 9357"/>
              <a:gd name="connsiteX4" fmla="*/ 448 w 8519"/>
              <a:gd name="connsiteY4" fmla="*/ 9344 h 9357"/>
              <a:gd name="connsiteX5" fmla="*/ 5241 w 8519"/>
              <a:gd name="connsiteY5" fmla="*/ 2575 h 9357"/>
              <a:gd name="connsiteX6" fmla="*/ 2507 w 8519"/>
              <a:gd name="connsiteY6" fmla="*/ 0 h 9357"/>
              <a:gd name="connsiteX0" fmla="*/ 803 w 11710"/>
              <a:gd name="connsiteY0" fmla="*/ 0 h 10000"/>
              <a:gd name="connsiteX1" fmla="*/ 0 w 11710"/>
              <a:gd name="connsiteY1" fmla="*/ 10000 h 10000"/>
              <a:gd name="connsiteX2" fmla="*/ 10000 w 11710"/>
              <a:gd name="connsiteY2" fmla="*/ 10000 h 10000"/>
              <a:gd name="connsiteX3" fmla="*/ 10000 w 11710"/>
              <a:gd name="connsiteY3" fmla="*/ 9986 h 10000"/>
              <a:gd name="connsiteX4" fmla="*/ 4748 w 11710"/>
              <a:gd name="connsiteY4" fmla="*/ 7805 h 10000"/>
              <a:gd name="connsiteX5" fmla="*/ 6152 w 11710"/>
              <a:gd name="connsiteY5" fmla="*/ 2752 h 10000"/>
              <a:gd name="connsiteX6" fmla="*/ 2943 w 11710"/>
              <a:gd name="connsiteY6" fmla="*/ 0 h 10000"/>
              <a:gd name="connsiteX0" fmla="*/ 803 w 11710"/>
              <a:gd name="connsiteY0" fmla="*/ 0 h 10000"/>
              <a:gd name="connsiteX1" fmla="*/ 0 w 11710"/>
              <a:gd name="connsiteY1" fmla="*/ 10000 h 10000"/>
              <a:gd name="connsiteX2" fmla="*/ 10000 w 11710"/>
              <a:gd name="connsiteY2" fmla="*/ 10000 h 10000"/>
              <a:gd name="connsiteX3" fmla="*/ 4748 w 11710"/>
              <a:gd name="connsiteY3" fmla="*/ 7805 h 10000"/>
              <a:gd name="connsiteX4" fmla="*/ 6152 w 11710"/>
              <a:gd name="connsiteY4" fmla="*/ 2752 h 10000"/>
              <a:gd name="connsiteX5" fmla="*/ 2943 w 11710"/>
              <a:gd name="connsiteY5" fmla="*/ 0 h 10000"/>
              <a:gd name="connsiteX0" fmla="*/ 803 w 11710"/>
              <a:gd name="connsiteY0" fmla="*/ 0 h 10000"/>
              <a:gd name="connsiteX1" fmla="*/ 0 w 11710"/>
              <a:gd name="connsiteY1" fmla="*/ 10000 h 10000"/>
              <a:gd name="connsiteX2" fmla="*/ 4748 w 11710"/>
              <a:gd name="connsiteY2" fmla="*/ 7805 h 10000"/>
              <a:gd name="connsiteX3" fmla="*/ 6152 w 11710"/>
              <a:gd name="connsiteY3" fmla="*/ 2752 h 10000"/>
              <a:gd name="connsiteX4" fmla="*/ 2943 w 11710"/>
              <a:gd name="connsiteY4" fmla="*/ 0 h 10000"/>
              <a:gd name="connsiteX0" fmla="*/ 268 w 11175"/>
              <a:gd name="connsiteY0" fmla="*/ 0 h 7805"/>
              <a:gd name="connsiteX1" fmla="*/ 1605 w 11175"/>
              <a:gd name="connsiteY1" fmla="*/ 7181 h 7805"/>
              <a:gd name="connsiteX2" fmla="*/ 4213 w 11175"/>
              <a:gd name="connsiteY2" fmla="*/ 7805 h 7805"/>
              <a:gd name="connsiteX3" fmla="*/ 5617 w 11175"/>
              <a:gd name="connsiteY3" fmla="*/ 2752 h 7805"/>
              <a:gd name="connsiteX4" fmla="*/ 2408 w 11175"/>
              <a:gd name="connsiteY4" fmla="*/ 0 h 7805"/>
              <a:gd name="connsiteX0" fmla="*/ 240 w 10000"/>
              <a:gd name="connsiteY0" fmla="*/ 0 h 10000"/>
              <a:gd name="connsiteX1" fmla="*/ 1646 w 10000"/>
              <a:gd name="connsiteY1" fmla="*/ 10000 h 10000"/>
              <a:gd name="connsiteX2" fmla="*/ 3770 w 10000"/>
              <a:gd name="connsiteY2" fmla="*/ 10000 h 10000"/>
              <a:gd name="connsiteX3" fmla="*/ 5026 w 10000"/>
              <a:gd name="connsiteY3" fmla="*/ 3526 h 10000"/>
              <a:gd name="connsiteX4" fmla="*/ 2155 w 10000"/>
              <a:gd name="connsiteY4" fmla="*/ 0 h 10000"/>
              <a:gd name="connsiteX0" fmla="*/ 240 w 8385"/>
              <a:gd name="connsiteY0" fmla="*/ 0 h 10000"/>
              <a:gd name="connsiteX1" fmla="*/ 31 w 8385"/>
              <a:gd name="connsiteY1" fmla="*/ 10000 h 10000"/>
              <a:gd name="connsiteX2" fmla="*/ 2155 w 8385"/>
              <a:gd name="connsiteY2" fmla="*/ 10000 h 10000"/>
              <a:gd name="connsiteX3" fmla="*/ 3411 w 8385"/>
              <a:gd name="connsiteY3" fmla="*/ 3526 h 10000"/>
              <a:gd name="connsiteX4" fmla="*/ 540 w 8385"/>
              <a:gd name="connsiteY4" fmla="*/ 0 h 10000"/>
              <a:gd name="connsiteX0" fmla="*/ 286 w 10249"/>
              <a:gd name="connsiteY0" fmla="*/ 0 h 10000"/>
              <a:gd name="connsiteX1" fmla="*/ 286 w 10249"/>
              <a:gd name="connsiteY1" fmla="*/ 10000 h 10000"/>
              <a:gd name="connsiteX2" fmla="*/ 2819 w 10249"/>
              <a:gd name="connsiteY2" fmla="*/ 10000 h 10000"/>
              <a:gd name="connsiteX3" fmla="*/ 4317 w 10249"/>
              <a:gd name="connsiteY3" fmla="*/ 3526 h 10000"/>
              <a:gd name="connsiteX4" fmla="*/ 893 w 10249"/>
              <a:gd name="connsiteY4" fmla="*/ 0 h 10000"/>
              <a:gd name="connsiteX0" fmla="*/ 286 w 10249"/>
              <a:gd name="connsiteY0" fmla="*/ 0 h 10000"/>
              <a:gd name="connsiteX1" fmla="*/ 286 w 10249"/>
              <a:gd name="connsiteY1" fmla="*/ 10000 h 10000"/>
              <a:gd name="connsiteX2" fmla="*/ 2819 w 10249"/>
              <a:gd name="connsiteY2" fmla="*/ 10000 h 10000"/>
              <a:gd name="connsiteX3" fmla="*/ 4317 w 10249"/>
              <a:gd name="connsiteY3" fmla="*/ 3526 h 10000"/>
              <a:gd name="connsiteX4" fmla="*/ 893 w 10249"/>
              <a:gd name="connsiteY4" fmla="*/ 0 h 10000"/>
              <a:gd name="connsiteX0" fmla="*/ 21 w 9984"/>
              <a:gd name="connsiteY0" fmla="*/ 0 h 10000"/>
              <a:gd name="connsiteX1" fmla="*/ 21 w 9984"/>
              <a:gd name="connsiteY1" fmla="*/ 10000 h 10000"/>
              <a:gd name="connsiteX2" fmla="*/ 2554 w 9984"/>
              <a:gd name="connsiteY2" fmla="*/ 10000 h 10000"/>
              <a:gd name="connsiteX3" fmla="*/ 4052 w 9984"/>
              <a:gd name="connsiteY3" fmla="*/ 3526 h 10000"/>
              <a:gd name="connsiteX4" fmla="*/ 628 w 9984"/>
              <a:gd name="connsiteY4" fmla="*/ 0 h 10000"/>
              <a:gd name="connsiteX0" fmla="*/ 21 w 10000"/>
              <a:gd name="connsiteY0" fmla="*/ 0 h 10000"/>
              <a:gd name="connsiteX1" fmla="*/ 21 w 10000"/>
              <a:gd name="connsiteY1" fmla="*/ 10000 h 10000"/>
              <a:gd name="connsiteX2" fmla="*/ 2558 w 10000"/>
              <a:gd name="connsiteY2" fmla="*/ 10000 h 10000"/>
              <a:gd name="connsiteX3" fmla="*/ 4058 w 10000"/>
              <a:gd name="connsiteY3" fmla="*/ 3526 h 10000"/>
              <a:gd name="connsiteX4" fmla="*/ 629 w 10000"/>
              <a:gd name="connsiteY4" fmla="*/ 0 h 10000"/>
              <a:gd name="connsiteX0" fmla="*/ 21 w 10000"/>
              <a:gd name="connsiteY0" fmla="*/ 0 h 10000"/>
              <a:gd name="connsiteX1" fmla="*/ 21 w 10000"/>
              <a:gd name="connsiteY1" fmla="*/ 10000 h 10000"/>
              <a:gd name="connsiteX2" fmla="*/ 2558 w 10000"/>
              <a:gd name="connsiteY2" fmla="*/ 10000 h 10000"/>
              <a:gd name="connsiteX3" fmla="*/ 4058 w 10000"/>
              <a:gd name="connsiteY3" fmla="*/ 3526 h 10000"/>
              <a:gd name="connsiteX4" fmla="*/ 629 w 10000"/>
              <a:gd name="connsiteY4" fmla="*/ 0 h 10000"/>
              <a:gd name="connsiteX0" fmla="*/ 21 w 10000"/>
              <a:gd name="connsiteY0" fmla="*/ 0 h 10000"/>
              <a:gd name="connsiteX1" fmla="*/ 21 w 10000"/>
              <a:gd name="connsiteY1" fmla="*/ 10000 h 10000"/>
              <a:gd name="connsiteX2" fmla="*/ 2558 w 10000"/>
              <a:gd name="connsiteY2" fmla="*/ 10000 h 10000"/>
              <a:gd name="connsiteX3" fmla="*/ 4058 w 10000"/>
              <a:gd name="connsiteY3" fmla="*/ 3526 h 10000"/>
              <a:gd name="connsiteX4" fmla="*/ 629 w 10000"/>
              <a:gd name="connsiteY4" fmla="*/ 0 h 10000"/>
              <a:gd name="connsiteX0" fmla="*/ 21 w 10000"/>
              <a:gd name="connsiteY0" fmla="*/ 0 h 10000"/>
              <a:gd name="connsiteX1" fmla="*/ 21 w 10000"/>
              <a:gd name="connsiteY1" fmla="*/ 10000 h 10000"/>
              <a:gd name="connsiteX2" fmla="*/ 2558 w 10000"/>
              <a:gd name="connsiteY2" fmla="*/ 10000 h 10000"/>
              <a:gd name="connsiteX3" fmla="*/ 4058 w 10000"/>
              <a:gd name="connsiteY3" fmla="*/ 3526 h 10000"/>
              <a:gd name="connsiteX4" fmla="*/ 629 w 10000"/>
              <a:gd name="connsiteY4" fmla="*/ 0 h 10000"/>
              <a:gd name="connsiteX0" fmla="*/ 21 w 10000"/>
              <a:gd name="connsiteY0" fmla="*/ 0 h 10000"/>
              <a:gd name="connsiteX1" fmla="*/ 21 w 10000"/>
              <a:gd name="connsiteY1" fmla="*/ 10000 h 10000"/>
              <a:gd name="connsiteX2" fmla="*/ 2558 w 10000"/>
              <a:gd name="connsiteY2" fmla="*/ 10000 h 10000"/>
              <a:gd name="connsiteX3" fmla="*/ 4058 w 10000"/>
              <a:gd name="connsiteY3" fmla="*/ 3526 h 10000"/>
              <a:gd name="connsiteX4" fmla="*/ 629 w 10000"/>
              <a:gd name="connsiteY4" fmla="*/ 0 h 10000"/>
              <a:gd name="connsiteX0" fmla="*/ 21 w 10000"/>
              <a:gd name="connsiteY0" fmla="*/ 0 h 10000"/>
              <a:gd name="connsiteX1" fmla="*/ 21 w 10000"/>
              <a:gd name="connsiteY1" fmla="*/ 10000 h 10000"/>
              <a:gd name="connsiteX2" fmla="*/ 2558 w 10000"/>
              <a:gd name="connsiteY2" fmla="*/ 10000 h 10000"/>
              <a:gd name="connsiteX3" fmla="*/ 4058 w 10000"/>
              <a:gd name="connsiteY3" fmla="*/ 3526 h 10000"/>
              <a:gd name="connsiteX4" fmla="*/ 629 w 10000"/>
              <a:gd name="connsiteY4" fmla="*/ 0 h 10000"/>
              <a:gd name="connsiteX0" fmla="*/ 21 w 6080"/>
              <a:gd name="connsiteY0" fmla="*/ 0 h 10000"/>
              <a:gd name="connsiteX1" fmla="*/ 21 w 6080"/>
              <a:gd name="connsiteY1" fmla="*/ 10000 h 10000"/>
              <a:gd name="connsiteX2" fmla="*/ 2558 w 6080"/>
              <a:gd name="connsiteY2" fmla="*/ 10000 h 10000"/>
              <a:gd name="connsiteX3" fmla="*/ 4058 w 6080"/>
              <a:gd name="connsiteY3" fmla="*/ 3526 h 10000"/>
              <a:gd name="connsiteX4" fmla="*/ 629 w 6080"/>
              <a:gd name="connsiteY4" fmla="*/ 0 h 10000"/>
              <a:gd name="connsiteX0" fmla="*/ 35 w 9132"/>
              <a:gd name="connsiteY0" fmla="*/ 0 h 10000"/>
              <a:gd name="connsiteX1" fmla="*/ 35 w 9132"/>
              <a:gd name="connsiteY1" fmla="*/ 10000 h 10000"/>
              <a:gd name="connsiteX2" fmla="*/ 4207 w 9132"/>
              <a:gd name="connsiteY2" fmla="*/ 10000 h 10000"/>
              <a:gd name="connsiteX3" fmla="*/ 6674 w 9132"/>
              <a:gd name="connsiteY3" fmla="*/ 3526 h 10000"/>
              <a:gd name="connsiteX4" fmla="*/ 1035 w 9132"/>
              <a:gd name="connsiteY4" fmla="*/ 0 h 10000"/>
              <a:gd name="connsiteX0" fmla="*/ 38 w 10393"/>
              <a:gd name="connsiteY0" fmla="*/ 0 h 10000"/>
              <a:gd name="connsiteX1" fmla="*/ 38 w 10393"/>
              <a:gd name="connsiteY1" fmla="*/ 10000 h 10000"/>
              <a:gd name="connsiteX2" fmla="*/ 4607 w 10393"/>
              <a:gd name="connsiteY2" fmla="*/ 10000 h 10000"/>
              <a:gd name="connsiteX3" fmla="*/ 7308 w 10393"/>
              <a:gd name="connsiteY3" fmla="*/ 3526 h 10000"/>
              <a:gd name="connsiteX4" fmla="*/ 1133 w 10393"/>
              <a:gd name="connsiteY4" fmla="*/ 0 h 10000"/>
              <a:gd name="connsiteX0" fmla="*/ 38 w 10393"/>
              <a:gd name="connsiteY0" fmla="*/ 0 h 10000"/>
              <a:gd name="connsiteX1" fmla="*/ 38 w 10393"/>
              <a:gd name="connsiteY1" fmla="*/ 10000 h 10000"/>
              <a:gd name="connsiteX2" fmla="*/ 4607 w 10393"/>
              <a:gd name="connsiteY2" fmla="*/ 10000 h 10000"/>
              <a:gd name="connsiteX3" fmla="*/ 7308 w 10393"/>
              <a:gd name="connsiteY3" fmla="*/ 3526 h 10000"/>
              <a:gd name="connsiteX4" fmla="*/ 1133 w 10393"/>
              <a:gd name="connsiteY4" fmla="*/ 0 h 10000"/>
              <a:gd name="connsiteX0" fmla="*/ 38 w 10393"/>
              <a:gd name="connsiteY0" fmla="*/ 0 h 10000"/>
              <a:gd name="connsiteX1" fmla="*/ 38 w 10393"/>
              <a:gd name="connsiteY1" fmla="*/ 10000 h 10000"/>
              <a:gd name="connsiteX2" fmla="*/ 4607 w 10393"/>
              <a:gd name="connsiteY2" fmla="*/ 10000 h 10000"/>
              <a:gd name="connsiteX3" fmla="*/ 7308 w 10393"/>
              <a:gd name="connsiteY3" fmla="*/ 3526 h 10000"/>
              <a:gd name="connsiteX4" fmla="*/ 1133 w 10393"/>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93" h="10000">
                <a:moveTo>
                  <a:pt x="38" y="0"/>
                </a:moveTo>
                <a:cubicBezTo>
                  <a:pt x="43" y="3692"/>
                  <a:pt x="0" y="6047"/>
                  <a:pt x="38" y="10000"/>
                </a:cubicBezTo>
                <a:lnTo>
                  <a:pt x="4607" y="10000"/>
                </a:lnTo>
                <a:cubicBezTo>
                  <a:pt x="10393" y="6454"/>
                  <a:pt x="8322" y="4154"/>
                  <a:pt x="7308" y="3526"/>
                </a:cubicBezTo>
                <a:cubicBezTo>
                  <a:pt x="8251" y="5527"/>
                  <a:pt x="3442" y="4589"/>
                  <a:pt x="1133"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4" tIns="45712" rIns="91424" bIns="45712" numCol="1" anchor="t" anchorCtr="0" compatLnSpc="1">
            <a:prstTxWarp prst="textNoShape">
              <a:avLst/>
            </a:prstTxWarp>
          </a:bodyPr>
          <a:lstStyle/>
          <a:p>
            <a:endParaRPr lang="en-US" sz="1800" dirty="0"/>
          </a:p>
        </p:txBody>
      </p:sp>
      <p:grpSp>
        <p:nvGrpSpPr>
          <p:cNvPr id="32" name="Group 31"/>
          <p:cNvGrpSpPr/>
          <p:nvPr userDrawn="1"/>
        </p:nvGrpSpPr>
        <p:grpSpPr>
          <a:xfrm>
            <a:off x="3665413" y="2404111"/>
            <a:ext cx="734885" cy="682321"/>
            <a:chOff x="5662614" y="3032124"/>
            <a:chExt cx="863600" cy="801689"/>
          </a:xfrm>
        </p:grpSpPr>
        <p:sp>
          <p:nvSpPr>
            <p:cNvPr id="33" name="Freeform 32"/>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sp>
          <p:nvSpPr>
            <p:cNvPr id="34" name="Freeform 33"/>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grpSp>
      <p:pic>
        <p:nvPicPr>
          <p:cNvPr id="35" name="Picture 2" descr="D:\My Work\Template\Icons\Social Media\LinkedIN.png">
            <a:hlinkClick r:id="rId5"/>
          </p:cNvPr>
          <p:cNvPicPr>
            <a:picLocks noChangeAspect="1" noChangeArrowheads="1"/>
          </p:cNvPicPr>
          <p:nvPr userDrawn="1"/>
        </p:nvPicPr>
        <p:blipFill>
          <a:blip r:embed="rId6" cstate="print"/>
          <a:srcRect/>
          <a:stretch>
            <a:fillRect/>
          </a:stretch>
        </p:blipFill>
        <p:spPr bwMode="auto">
          <a:xfrm>
            <a:off x="758237" y="3979258"/>
            <a:ext cx="333137" cy="333195"/>
          </a:xfrm>
          <a:prstGeom prst="rect">
            <a:avLst/>
          </a:prstGeom>
          <a:noFill/>
        </p:spPr>
      </p:pic>
      <p:pic>
        <p:nvPicPr>
          <p:cNvPr id="36" name="Picture 4" descr="D:\My Work\Template\Icons\Social Media\SlideShare.png">
            <a:hlinkClick r:id="rId7"/>
          </p:cNvPr>
          <p:cNvPicPr>
            <a:picLocks noChangeAspect="1" noChangeArrowheads="1"/>
          </p:cNvPicPr>
          <p:nvPr userDrawn="1"/>
        </p:nvPicPr>
        <p:blipFill>
          <a:blip r:embed="rId8" cstate="print"/>
          <a:srcRect/>
          <a:stretch>
            <a:fillRect/>
          </a:stretch>
        </p:blipFill>
        <p:spPr bwMode="auto">
          <a:xfrm>
            <a:off x="1141547" y="3979258"/>
            <a:ext cx="333137" cy="333195"/>
          </a:xfrm>
          <a:prstGeom prst="rect">
            <a:avLst/>
          </a:prstGeom>
          <a:noFill/>
        </p:spPr>
      </p:pic>
      <p:pic>
        <p:nvPicPr>
          <p:cNvPr id="37" name="Picture 5" descr="D:\My Work\Template\Icons\Social Media\Twitter.png">
            <a:hlinkClick r:id="rId9"/>
          </p:cNvPr>
          <p:cNvPicPr>
            <a:picLocks noChangeAspect="1" noChangeArrowheads="1"/>
          </p:cNvPicPr>
          <p:nvPr userDrawn="1"/>
        </p:nvPicPr>
        <p:blipFill>
          <a:blip r:embed="rId10" cstate="print"/>
          <a:srcRect/>
          <a:stretch>
            <a:fillRect/>
          </a:stretch>
        </p:blipFill>
        <p:spPr bwMode="auto">
          <a:xfrm>
            <a:off x="1524858" y="3979258"/>
            <a:ext cx="333137" cy="333195"/>
          </a:xfrm>
          <a:prstGeom prst="rect">
            <a:avLst/>
          </a:prstGeom>
          <a:noFill/>
        </p:spPr>
      </p:pic>
      <p:pic>
        <p:nvPicPr>
          <p:cNvPr id="38" name="Picture 6" descr="D:\My Work\Template\Icons\Social Media\YouTube.png">
            <a:hlinkClick r:id="rId11"/>
          </p:cNvPr>
          <p:cNvPicPr>
            <a:picLocks noChangeAspect="1" noChangeArrowheads="1"/>
          </p:cNvPicPr>
          <p:nvPr userDrawn="1"/>
        </p:nvPicPr>
        <p:blipFill>
          <a:blip r:embed="rId12" cstate="print"/>
          <a:srcRect/>
          <a:stretch>
            <a:fillRect/>
          </a:stretch>
        </p:blipFill>
        <p:spPr bwMode="auto">
          <a:xfrm>
            <a:off x="1908167" y="3979258"/>
            <a:ext cx="333137" cy="333195"/>
          </a:xfrm>
          <a:prstGeom prst="rect">
            <a:avLst/>
          </a:prstGeom>
          <a:noFill/>
        </p:spPr>
      </p:pic>
      <p:pic>
        <p:nvPicPr>
          <p:cNvPr id="39" name="Picture 7" descr="D:\My Work\Template\Icons\Social Media\Facebook.png">
            <a:hlinkClick r:id="rId13"/>
          </p:cNvPr>
          <p:cNvPicPr>
            <a:picLocks noChangeAspect="1" noChangeArrowheads="1"/>
          </p:cNvPicPr>
          <p:nvPr userDrawn="1"/>
        </p:nvPicPr>
        <p:blipFill>
          <a:blip r:embed="rId14" cstate="print"/>
          <a:srcRect/>
          <a:stretch>
            <a:fillRect/>
          </a:stretch>
        </p:blipFill>
        <p:spPr bwMode="auto">
          <a:xfrm>
            <a:off x="374926" y="3979258"/>
            <a:ext cx="333137" cy="333195"/>
          </a:xfrm>
          <a:prstGeom prst="rect">
            <a:avLst/>
          </a:prstGeom>
          <a:noFill/>
        </p:spPr>
      </p:pic>
      <p:sp>
        <p:nvSpPr>
          <p:cNvPr id="40" name="Rectangle 39"/>
          <p:cNvSpPr/>
          <p:nvPr userDrawn="1"/>
        </p:nvSpPr>
        <p:spPr>
          <a:xfrm>
            <a:off x="374926" y="5640914"/>
            <a:ext cx="4197891" cy="569387"/>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message contains information that may be privileged </a:t>
            </a:r>
            <a:br>
              <a:rPr lang="pl-PL" sz="800" noProof="0" dirty="0">
                <a:solidFill>
                  <a:schemeClr val="bg1"/>
                </a:solidFill>
                <a:latin typeface="+mn-lt"/>
                <a:cs typeface="Arial"/>
              </a:rPr>
            </a:br>
            <a:r>
              <a:rPr lang="en-US" sz="800" noProof="0" dirty="0">
                <a:solidFill>
                  <a:schemeClr val="bg1"/>
                </a:solidFill>
                <a:latin typeface="+mn-lt"/>
                <a:cs typeface="Arial"/>
              </a:rPr>
              <a:t>or confidential and is the property of the Capgemini Group.</a:t>
            </a:r>
            <a:br>
              <a:rPr lang="en-US" sz="800" noProof="0" dirty="0">
                <a:solidFill>
                  <a:schemeClr val="bg1"/>
                </a:solidFill>
                <a:latin typeface="+mn-lt"/>
                <a:cs typeface="Arial"/>
              </a:rPr>
            </a:br>
            <a:r>
              <a:rPr lang="en-US" sz="800" noProof="0" dirty="0">
                <a:solidFill>
                  <a:schemeClr val="bg1"/>
                </a:solidFill>
                <a:latin typeface="Arial"/>
                <a:cs typeface="Arial"/>
              </a:rPr>
              <a:t>Copyright © 2018 Capgemini. All rights reserved.</a:t>
            </a:r>
          </a:p>
          <a:p>
            <a:pPr marL="0" marR="0" indent="0" defTabSz="957564" rtl="0" eaLnBrk="1" fontAlgn="auto" latinLnBrk="0" hangingPunct="1">
              <a:lnSpc>
                <a:spcPct val="100000"/>
              </a:lnSpc>
              <a:spcBef>
                <a:spcPts val="0"/>
              </a:spcBef>
              <a:spcAft>
                <a:spcPts val="600"/>
              </a:spcAft>
              <a:buClrTx/>
              <a:buSzTx/>
              <a:buFontTx/>
              <a:buNone/>
              <a:tabLst/>
              <a:defRPr/>
            </a:pPr>
            <a:r>
              <a:rPr lang="en-US" sz="800" noProof="0" dirty="0">
                <a:solidFill>
                  <a:schemeClr val="bg1"/>
                </a:solidFill>
                <a:latin typeface="Arial"/>
                <a:cs typeface="Arial"/>
              </a:rPr>
              <a:t>Rightshore</a:t>
            </a:r>
            <a:r>
              <a:rPr lang="en-US" sz="800" baseline="30000" noProof="0" dirty="0">
                <a:solidFill>
                  <a:schemeClr val="bg1"/>
                </a:solidFill>
                <a:latin typeface="Arial"/>
                <a:cs typeface="Arial"/>
              </a:rPr>
              <a:t>®</a:t>
            </a:r>
            <a:r>
              <a:rPr lang="en-US" sz="800" noProof="0" dirty="0">
                <a:solidFill>
                  <a:schemeClr val="bg1"/>
                </a:solidFill>
                <a:latin typeface="Arial"/>
                <a:cs typeface="Arial"/>
              </a:rPr>
              <a:t> is a trademark belonging to Capgemini.</a:t>
            </a:r>
          </a:p>
        </p:txBody>
      </p:sp>
      <p:pic>
        <p:nvPicPr>
          <p:cNvPr id="41" name="Picture 40"/>
          <p:cNvPicPr>
            <a:picLocks noChangeAspect="1"/>
          </p:cNvPicPr>
          <p:nvPr userDrawn="1"/>
        </p:nvPicPr>
        <p:blipFill>
          <a:blip r:embed="rId15" cstate="print">
            <a:extLst>
              <a:ext uri="{28A0092B-C50C-407E-A947-70E740481C1C}">
                <a14:useLocalDpi xmlns:a14="http://schemas.microsoft.com/office/drawing/2010/main" val="0"/>
              </a:ext>
            </a:extLst>
          </a:blip>
          <a:stretch>
            <a:fillRect/>
          </a:stretch>
        </p:blipFill>
        <p:spPr>
          <a:xfrm>
            <a:off x="367461" y="4434172"/>
            <a:ext cx="2559875" cy="201012"/>
          </a:xfrm>
          <a:prstGeom prst="rect">
            <a:avLst/>
          </a:prstGeom>
        </p:spPr>
      </p:pic>
    </p:spTree>
    <p:extLst>
      <p:ext uri="{BB962C8B-B14F-4D97-AF65-F5344CB8AC3E}">
        <p14:creationId xmlns:p14="http://schemas.microsoft.com/office/powerpoint/2010/main" val="111841963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type="title">
  <p:cSld name="Title Slide 1">
    <p:spTree>
      <p:nvGrpSpPr>
        <p:cNvPr id="1" name=""/>
        <p:cNvGrpSpPr/>
        <p:nvPr/>
      </p:nvGrpSpPr>
      <p:grpSpPr>
        <a:xfrm>
          <a:off x="0" y="0"/>
          <a:ext cx="0" cy="0"/>
          <a:chOff x="0" y="0"/>
          <a:chExt cx="0" cy="0"/>
        </a:xfrm>
      </p:grpSpPr>
      <p:sp>
        <p:nvSpPr>
          <p:cNvPr id="2" name="Title 1"/>
          <p:cNvSpPr>
            <a:spLocks noGrp="1"/>
          </p:cNvSpPr>
          <p:nvPr>
            <p:ph type="ctrTitle" hasCustomPrompt="1"/>
            <p:custDataLst>
              <p:tags r:id="rId1"/>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a:t>Click to </a:t>
            </a:r>
            <a:r>
              <a:rPr lang="fr-FR" dirty="0" err="1"/>
              <a:t>edit</a:t>
            </a:r>
            <a:r>
              <a:rPr lang="fr-FR" dirty="0"/>
              <a:t> Master </a:t>
            </a:r>
            <a:r>
              <a:rPr lang="fr-FR" dirty="0" err="1"/>
              <a:t>title</a:t>
            </a:r>
            <a:r>
              <a:rPr lang="fr-FR" dirty="0"/>
              <a:t> style</a:t>
            </a:r>
            <a:endParaRPr lang="en-US" dirty="0"/>
          </a:p>
        </p:txBody>
      </p:sp>
      <p:sp>
        <p:nvSpPr>
          <p:cNvPr id="3" name="Subtitle 2"/>
          <p:cNvSpPr>
            <a:spLocks noGrp="1"/>
          </p:cNvSpPr>
          <p:nvPr>
            <p:ph type="subTitle" idx="1" hasCustomPrompt="1"/>
            <p:custDataLst>
              <p:tags r:id="rId2"/>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a:t>Click to </a:t>
            </a:r>
            <a:r>
              <a:rPr lang="fr-FR" dirty="0" err="1"/>
              <a:t>edit</a:t>
            </a:r>
            <a:r>
              <a:rPr lang="fr-FR" dirty="0"/>
              <a:t> Master </a:t>
            </a:r>
            <a:r>
              <a:rPr lang="fr-FR" dirty="0" err="1"/>
              <a:t>text</a:t>
            </a:r>
            <a:r>
              <a:rPr lang="fr-FR" dirty="0"/>
              <a:t> style</a:t>
            </a:r>
          </a:p>
        </p:txBody>
      </p:sp>
    </p:spTree>
    <p:extLst>
      <p:ext uri="{BB962C8B-B14F-4D97-AF65-F5344CB8AC3E}">
        <p14:creationId xmlns:p14="http://schemas.microsoft.com/office/powerpoint/2010/main" val="2993035307"/>
      </p:ext>
    </p:extLst>
  </p:cSld>
  <p:clrMapOvr>
    <a:masterClrMapping/>
  </p:clrMapOvr>
  <p:hf sldNum="0" hdr="0" dt="0"/>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344211761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10262" name="think-cell Slide" r:id="rId6" imgW="360" imgH="360" progId="">
                  <p:embed/>
                </p:oleObj>
              </mc:Choice>
              <mc:Fallback>
                <p:oleObj name="think-cell Slide" r:id="rId6" imgW="360" imgH="36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85257426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7" y="1494766"/>
            <a:ext cx="6649748"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74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51918911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lang="en-US" sz="2200" b="0" kern="1200" dirty="0" smtClean="0">
                <a:solidFill>
                  <a:schemeClr val="bg2">
                    <a:lumMod val="50000"/>
                  </a:schemeClr>
                </a:solidFill>
                <a:latin typeface="+mn-lt"/>
                <a:ea typeface="+mn-ea"/>
                <a:cs typeface="+mn-cs"/>
              </a:defRPr>
            </a:lvl1pPr>
            <a:lvl4pPr>
              <a:defRPr lang="en-US" sz="1600" kern="1200" dirty="0" smtClean="0">
                <a:solidFill>
                  <a:schemeClr val="bg1">
                    <a:lumMod val="50000"/>
                  </a:schemeClr>
                </a:solidFill>
                <a:latin typeface="Candara" panose="020E0502030303020204" pitchFamily="34" charset="0"/>
                <a:ea typeface="+mn-ea"/>
                <a:cs typeface="+mn-cs"/>
              </a:defRPr>
            </a:lvl4pPr>
            <a:lvl5pPr>
              <a:defRPr lang="en-US" sz="1600" kern="1200" dirty="0">
                <a:solidFill>
                  <a:schemeClr val="bg1">
                    <a:lumMod val="50000"/>
                  </a:schemeClr>
                </a:solidFill>
                <a:latin typeface="Candara" panose="020E0502030303020204" pitchFamily="34" charset="0"/>
                <a:ea typeface="+mn-ea"/>
                <a:cs typeface="+mn-cs"/>
              </a:defRPr>
            </a:lvl5pPr>
          </a:lstStyle>
          <a:p>
            <a:pPr lvl="0"/>
            <a:r>
              <a:rPr lang="en-US" dirty="0"/>
              <a:t>Click to edit Master text styles</a:t>
            </a:r>
          </a:p>
          <a:p>
            <a:pPr lvl="1"/>
            <a:r>
              <a:rPr lang="en-US" dirty="0"/>
              <a:t>Second level</a:t>
            </a:r>
          </a:p>
          <a:p>
            <a:pPr lvl="2"/>
            <a:r>
              <a:rPr lang="en-US" dirty="0"/>
              <a:t>Third level</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r>
              <a:rPr lang="en-US"/>
              <a:t>Capgemini Public</a:t>
            </a:r>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744649425"/>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20482"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75005445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9458"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595306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Cover 4">
    <p:bg>
      <p:bgPr>
        <a:solidFill>
          <a:schemeClr val="bg1"/>
        </a:solidFill>
        <a:effectLst/>
      </p:bgPr>
    </p:bg>
    <p:spTree>
      <p:nvGrpSpPr>
        <p:cNvPr id="1" name=""/>
        <p:cNvGrpSpPr/>
        <p:nvPr/>
      </p:nvGrpSpPr>
      <p:grpSpPr>
        <a:xfrm>
          <a:off x="0" y="0"/>
          <a:ext cx="0" cy="0"/>
          <a:chOff x="0" y="0"/>
          <a:chExt cx="0" cy="0"/>
        </a:xfrm>
      </p:grpSpPr>
      <p:sp>
        <p:nvSpPr>
          <p:cNvPr id="5" name="Rectangle 4"/>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0" name="Text Placeholder 13">
            <a:extLst>
              <a:ext uri="{FF2B5EF4-FFF2-40B4-BE49-F238E27FC236}">
                <a16:creationId xmlns:a16="http://schemas.microsoft.com/office/drawing/2014/main" id="{7D1DC75A-C7A4-44A4-B19C-D445335545B0}"/>
              </a:ext>
            </a:extLst>
          </p:cNvPr>
          <p:cNvSpPr>
            <a:spLocks noGrp="1"/>
          </p:cNvSpPr>
          <p:nvPr>
            <p:ph type="body" sz="quarter" idx="11" hasCustomPrompt="1"/>
          </p:nvPr>
        </p:nvSpPr>
        <p:spPr>
          <a:xfrm>
            <a:off x="305991" y="2276872"/>
            <a:ext cx="4049985" cy="869950"/>
          </a:xfrm>
        </p:spPr>
        <p:txBody>
          <a:bodyPr lIns="0" tIns="0" rIns="0" bIns="0" anchor="b">
            <a:normAutofit/>
          </a:bodyPr>
          <a:lstStyle>
            <a:lvl1pPr>
              <a:lnSpc>
                <a:spcPts val="2999"/>
              </a:lnSpc>
              <a:defRPr sz="2599">
                <a:solidFill>
                  <a:schemeClr val="accent1"/>
                </a:solidFill>
              </a:defRPr>
            </a:lvl1pPr>
            <a:lvl2pPr>
              <a:defRPr sz="2400">
                <a:solidFill>
                  <a:schemeClr val="bg1"/>
                </a:solidFill>
              </a:defRPr>
            </a:lvl2pPr>
          </a:lstStyle>
          <a:p>
            <a:pPr lvl="0"/>
            <a:r>
              <a:rPr lang="en-US" dirty="0"/>
              <a:t>Click to insert title</a:t>
            </a:r>
            <a:endParaRPr lang="pt-PT" dirty="0"/>
          </a:p>
        </p:txBody>
      </p:sp>
      <p:sp>
        <p:nvSpPr>
          <p:cNvPr id="11" name="Text Placeholder 13">
            <a:extLst>
              <a:ext uri="{FF2B5EF4-FFF2-40B4-BE49-F238E27FC236}">
                <a16:creationId xmlns:a16="http://schemas.microsoft.com/office/drawing/2014/main" id="{563879A0-0979-491A-8758-371BB7AD935B}"/>
              </a:ext>
            </a:extLst>
          </p:cNvPr>
          <p:cNvSpPr>
            <a:spLocks noGrp="1"/>
          </p:cNvSpPr>
          <p:nvPr>
            <p:ph type="body" sz="quarter" idx="12" hasCustomPrompt="1"/>
          </p:nvPr>
        </p:nvSpPr>
        <p:spPr>
          <a:xfrm>
            <a:off x="305991" y="3261834"/>
            <a:ext cx="4769978" cy="1196340"/>
          </a:xfrm>
        </p:spPr>
        <p:txBody>
          <a:bodyPr lIns="0" tIns="0" rIns="0" bIns="0">
            <a:normAutofit/>
          </a:bodyPr>
          <a:lstStyle>
            <a:lvl1pPr>
              <a:lnSpc>
                <a:spcPts val="1800"/>
              </a:lnSpc>
              <a:defRPr sz="1600">
                <a:solidFill>
                  <a:schemeClr val="accent1"/>
                </a:solidFill>
              </a:defRPr>
            </a:lvl1pPr>
            <a:lvl2pPr>
              <a:defRPr sz="1600">
                <a:solidFill>
                  <a:schemeClr val="bg1"/>
                </a:solidFill>
              </a:defRPr>
            </a:lvl2pPr>
          </a:lstStyle>
          <a:p>
            <a:pPr lvl="0"/>
            <a:r>
              <a:rPr lang="en-US" dirty="0"/>
              <a:t>Click to insert presenter, location, and date</a:t>
            </a:r>
            <a:endParaRPr lang="pt-PT" dirty="0"/>
          </a:p>
        </p:txBody>
      </p:sp>
      <p:pic>
        <p:nvPicPr>
          <p:cNvPr id="8" name="Graphic 9">
            <a:extLst>
              <a:ext uri="{FF2B5EF4-FFF2-40B4-BE49-F238E27FC236}">
                <a16:creationId xmlns:a16="http://schemas.microsoft.com/office/drawing/2014/main" id="{C3D2EC56-D17C-4A75-8178-C69397BC7353}"/>
              </a:ext>
            </a:extLst>
          </p:cNvPr>
          <p:cNvPicPr>
            <a:picLocks noChangeAspect="1"/>
          </p:cNvPicPr>
          <p:nvPr/>
        </p:nvPicPr>
        <p:blipFill>
          <a:blip r:embed="rId2" cstate="print">
            <a:extLst>
              <a:ext uri="{96DAC541-7B7A-43D3-8B79-37D633B846F1}">
                <asvg:svgBlip xmlns:asvg="http://schemas.microsoft.com/office/drawing/2016/SVG/main" r:embed="rId3"/>
              </a:ext>
            </a:extLst>
          </a:blip>
          <a:stretch>
            <a:fillRect/>
          </a:stretch>
        </p:blipFill>
        <p:spPr>
          <a:xfrm>
            <a:off x="407917" y="404665"/>
            <a:ext cx="2285603" cy="510013"/>
          </a:xfrm>
          <a:prstGeom prst="rect">
            <a:avLst/>
          </a:prstGeom>
        </p:spPr>
      </p:pic>
      <p:sp>
        <p:nvSpPr>
          <p:cNvPr id="14" name="Freeform 11"/>
          <p:cNvSpPr>
            <a:spLocks/>
          </p:cNvSpPr>
          <p:nvPr/>
        </p:nvSpPr>
        <p:spPr bwMode="auto">
          <a:xfrm rot="16200000" flipH="1">
            <a:off x="3939171" y="1136801"/>
            <a:ext cx="6354035" cy="4080440"/>
          </a:xfrm>
          <a:custGeom>
            <a:avLst/>
            <a:gdLst>
              <a:gd name="T0" fmla="*/ 909 w 1432"/>
              <a:gd name="T1" fmla="*/ 1425 h 1425"/>
              <a:gd name="T2" fmla="*/ 934 w 1432"/>
              <a:gd name="T3" fmla="*/ 0 h 1425"/>
              <a:gd name="T4" fmla="*/ 0 w 1432"/>
              <a:gd name="T5" fmla="*/ 231 h 1425"/>
              <a:gd name="T6" fmla="*/ 0 w 1432"/>
              <a:gd name="T7" fmla="*/ 1425 h 1425"/>
              <a:gd name="T8" fmla="*/ 909 w 1432"/>
              <a:gd name="T9" fmla="*/ 1425 h 1425"/>
              <a:gd name="connsiteX0" fmla="*/ 8230 w 11365"/>
              <a:gd name="connsiteY0" fmla="*/ 6432 h 10000"/>
              <a:gd name="connsiteX1" fmla="*/ 6522 w 11365"/>
              <a:gd name="connsiteY1" fmla="*/ 0 h 10000"/>
              <a:gd name="connsiteX2" fmla="*/ 0 w 11365"/>
              <a:gd name="connsiteY2" fmla="*/ 1621 h 10000"/>
              <a:gd name="connsiteX3" fmla="*/ 0 w 11365"/>
              <a:gd name="connsiteY3" fmla="*/ 10000 h 10000"/>
              <a:gd name="connsiteX4" fmla="*/ 8230 w 11365"/>
              <a:gd name="connsiteY4" fmla="*/ 6432 h 10000"/>
              <a:gd name="connsiteX0" fmla="*/ 8230 w 11365"/>
              <a:gd name="connsiteY0" fmla="*/ 6432 h 10000"/>
              <a:gd name="connsiteX1" fmla="*/ 6522 w 11365"/>
              <a:gd name="connsiteY1" fmla="*/ 0 h 10000"/>
              <a:gd name="connsiteX2" fmla="*/ 0 w 11365"/>
              <a:gd name="connsiteY2" fmla="*/ 1621 h 10000"/>
              <a:gd name="connsiteX3" fmla="*/ 0 w 11365"/>
              <a:gd name="connsiteY3" fmla="*/ 10000 h 10000"/>
              <a:gd name="connsiteX4" fmla="*/ 8230 w 11365"/>
              <a:gd name="connsiteY4" fmla="*/ 6432 h 10000"/>
              <a:gd name="connsiteX0" fmla="*/ 8230 w 11365"/>
              <a:gd name="connsiteY0" fmla="*/ 6432 h 6432"/>
              <a:gd name="connsiteX1" fmla="*/ 6522 w 11365"/>
              <a:gd name="connsiteY1" fmla="*/ 0 h 6432"/>
              <a:gd name="connsiteX2" fmla="*/ 0 w 11365"/>
              <a:gd name="connsiteY2" fmla="*/ 1621 h 6432"/>
              <a:gd name="connsiteX3" fmla="*/ 0 w 11365"/>
              <a:gd name="connsiteY3" fmla="*/ 4781 h 6432"/>
              <a:gd name="connsiteX4" fmla="*/ 8230 w 11365"/>
              <a:gd name="connsiteY4" fmla="*/ 6432 h 6432"/>
              <a:gd name="connsiteX0" fmla="*/ 7242 w 10000"/>
              <a:gd name="connsiteY0" fmla="*/ 10000 h 10000"/>
              <a:gd name="connsiteX1" fmla="*/ 5739 w 10000"/>
              <a:gd name="connsiteY1" fmla="*/ 0 h 10000"/>
              <a:gd name="connsiteX2" fmla="*/ 0 w 10000"/>
              <a:gd name="connsiteY2" fmla="*/ 2520 h 10000"/>
              <a:gd name="connsiteX3" fmla="*/ 0 w 10000"/>
              <a:gd name="connsiteY3" fmla="*/ 10000 h 10000"/>
              <a:gd name="connsiteX4" fmla="*/ 7242 w 10000"/>
              <a:gd name="connsiteY4" fmla="*/ 10000 h 10000"/>
              <a:gd name="connsiteX0" fmla="*/ 7242 w 10000"/>
              <a:gd name="connsiteY0" fmla="*/ 10000 h 10030"/>
              <a:gd name="connsiteX1" fmla="*/ 5739 w 10000"/>
              <a:gd name="connsiteY1" fmla="*/ 0 h 10030"/>
              <a:gd name="connsiteX2" fmla="*/ 0 w 10000"/>
              <a:gd name="connsiteY2" fmla="*/ 2520 h 10030"/>
              <a:gd name="connsiteX3" fmla="*/ 0 w 10000"/>
              <a:gd name="connsiteY3" fmla="*/ 10000 h 10030"/>
              <a:gd name="connsiteX4" fmla="*/ 7242 w 10000"/>
              <a:gd name="connsiteY4" fmla="*/ 10000 h 10030"/>
              <a:gd name="connsiteX0" fmla="*/ 7241 w 9999"/>
              <a:gd name="connsiteY0" fmla="*/ 10000 h 10030"/>
              <a:gd name="connsiteX1" fmla="*/ 5739 w 9999"/>
              <a:gd name="connsiteY1" fmla="*/ 0 h 10030"/>
              <a:gd name="connsiteX2" fmla="*/ 0 w 9999"/>
              <a:gd name="connsiteY2" fmla="*/ 2520 h 10030"/>
              <a:gd name="connsiteX3" fmla="*/ 0 w 9999"/>
              <a:gd name="connsiteY3" fmla="*/ 10000 h 10030"/>
              <a:gd name="connsiteX4" fmla="*/ 7241 w 9999"/>
              <a:gd name="connsiteY4" fmla="*/ 10000 h 10030"/>
              <a:gd name="connsiteX0" fmla="*/ 7242 w 8800"/>
              <a:gd name="connsiteY0" fmla="*/ 9970 h 10000"/>
              <a:gd name="connsiteX1" fmla="*/ 5740 w 8800"/>
              <a:gd name="connsiteY1" fmla="*/ 0 h 10000"/>
              <a:gd name="connsiteX2" fmla="*/ 0 w 8800"/>
              <a:gd name="connsiteY2" fmla="*/ 2512 h 10000"/>
              <a:gd name="connsiteX3" fmla="*/ 0 w 8800"/>
              <a:gd name="connsiteY3" fmla="*/ 9970 h 10000"/>
              <a:gd name="connsiteX4" fmla="*/ 7242 w 8800"/>
              <a:gd name="connsiteY4" fmla="*/ 9970 h 10000"/>
              <a:gd name="connsiteX0" fmla="*/ 8230 w 10000"/>
              <a:gd name="connsiteY0" fmla="*/ 9970 h 10000"/>
              <a:gd name="connsiteX1" fmla="*/ 6523 w 10000"/>
              <a:gd name="connsiteY1" fmla="*/ 0 h 10000"/>
              <a:gd name="connsiteX2" fmla="*/ 0 w 10000"/>
              <a:gd name="connsiteY2" fmla="*/ 2512 h 10000"/>
              <a:gd name="connsiteX3" fmla="*/ 0 w 10000"/>
              <a:gd name="connsiteY3" fmla="*/ 9970 h 10000"/>
              <a:gd name="connsiteX4" fmla="*/ 8230 w 10000"/>
              <a:gd name="connsiteY4" fmla="*/ 9970 h 10000"/>
              <a:gd name="connsiteX0" fmla="*/ 8230 w 10000"/>
              <a:gd name="connsiteY0" fmla="*/ 9970 h 10000"/>
              <a:gd name="connsiteX1" fmla="*/ 6523 w 10000"/>
              <a:gd name="connsiteY1" fmla="*/ 0 h 10000"/>
              <a:gd name="connsiteX2" fmla="*/ 0 w 10000"/>
              <a:gd name="connsiteY2" fmla="*/ 2512 h 10000"/>
              <a:gd name="connsiteX3" fmla="*/ 0 w 10000"/>
              <a:gd name="connsiteY3" fmla="*/ 9970 h 10000"/>
              <a:gd name="connsiteX4" fmla="*/ 8230 w 10000"/>
              <a:gd name="connsiteY4" fmla="*/ 9970 h 10000"/>
              <a:gd name="connsiteX0" fmla="*/ 8230 w 10000"/>
              <a:gd name="connsiteY0" fmla="*/ 9970 h 10000"/>
              <a:gd name="connsiteX1" fmla="*/ 6523 w 10000"/>
              <a:gd name="connsiteY1" fmla="*/ 0 h 10000"/>
              <a:gd name="connsiteX2" fmla="*/ 0 w 10000"/>
              <a:gd name="connsiteY2" fmla="*/ 2512 h 10000"/>
              <a:gd name="connsiteX3" fmla="*/ 0 w 10000"/>
              <a:gd name="connsiteY3" fmla="*/ 9970 h 10000"/>
              <a:gd name="connsiteX4" fmla="*/ 8230 w 10000"/>
              <a:gd name="connsiteY4" fmla="*/ 9970 h 10000"/>
              <a:gd name="connsiteX0" fmla="*/ 8230 w 10000"/>
              <a:gd name="connsiteY0" fmla="*/ 9970 h 10000"/>
              <a:gd name="connsiteX1" fmla="*/ 6523 w 10000"/>
              <a:gd name="connsiteY1" fmla="*/ 0 h 10000"/>
              <a:gd name="connsiteX2" fmla="*/ 0 w 10000"/>
              <a:gd name="connsiteY2" fmla="*/ 2512 h 10000"/>
              <a:gd name="connsiteX3" fmla="*/ 0 w 10000"/>
              <a:gd name="connsiteY3" fmla="*/ 9970 h 10000"/>
              <a:gd name="connsiteX4" fmla="*/ 8230 w 10000"/>
              <a:gd name="connsiteY4" fmla="*/ 9970 h 10000"/>
              <a:gd name="connsiteX0" fmla="*/ 8230 w 10000"/>
              <a:gd name="connsiteY0" fmla="*/ 9970 h 10000"/>
              <a:gd name="connsiteX1" fmla="*/ 6523 w 10000"/>
              <a:gd name="connsiteY1" fmla="*/ 0 h 10000"/>
              <a:gd name="connsiteX2" fmla="*/ 0 w 10000"/>
              <a:gd name="connsiteY2" fmla="*/ 2512 h 10000"/>
              <a:gd name="connsiteX3" fmla="*/ 0 w 10000"/>
              <a:gd name="connsiteY3" fmla="*/ 9970 h 10000"/>
              <a:gd name="connsiteX4" fmla="*/ 8230 w 10000"/>
              <a:gd name="connsiteY4" fmla="*/ 9970 h 10000"/>
              <a:gd name="connsiteX0" fmla="*/ 8230 w 10000"/>
              <a:gd name="connsiteY0" fmla="*/ 9970 h 10000"/>
              <a:gd name="connsiteX1" fmla="*/ 6523 w 10000"/>
              <a:gd name="connsiteY1" fmla="*/ 0 h 10000"/>
              <a:gd name="connsiteX2" fmla="*/ 0 w 10000"/>
              <a:gd name="connsiteY2" fmla="*/ 2512 h 10000"/>
              <a:gd name="connsiteX3" fmla="*/ 0 w 10000"/>
              <a:gd name="connsiteY3" fmla="*/ 9970 h 10000"/>
              <a:gd name="connsiteX4" fmla="*/ 8230 w 10000"/>
              <a:gd name="connsiteY4" fmla="*/ 9970 h 10000"/>
              <a:gd name="connsiteX0" fmla="*/ 8230 w 10000"/>
              <a:gd name="connsiteY0" fmla="*/ 9970 h 10557"/>
              <a:gd name="connsiteX1" fmla="*/ 6523 w 10000"/>
              <a:gd name="connsiteY1" fmla="*/ 0 h 10557"/>
              <a:gd name="connsiteX2" fmla="*/ 0 w 10000"/>
              <a:gd name="connsiteY2" fmla="*/ 2512 h 10557"/>
              <a:gd name="connsiteX3" fmla="*/ 0 w 10000"/>
              <a:gd name="connsiteY3" fmla="*/ 9970 h 10557"/>
              <a:gd name="connsiteX4" fmla="*/ 8230 w 10000"/>
              <a:gd name="connsiteY4" fmla="*/ 9970 h 10557"/>
              <a:gd name="connsiteX0" fmla="*/ 8230 w 10000"/>
              <a:gd name="connsiteY0" fmla="*/ 9970 h 10000"/>
              <a:gd name="connsiteX1" fmla="*/ 6523 w 10000"/>
              <a:gd name="connsiteY1" fmla="*/ 0 h 10000"/>
              <a:gd name="connsiteX2" fmla="*/ 0 w 10000"/>
              <a:gd name="connsiteY2" fmla="*/ 2512 h 10000"/>
              <a:gd name="connsiteX3" fmla="*/ 0 w 10000"/>
              <a:gd name="connsiteY3" fmla="*/ 9970 h 10000"/>
              <a:gd name="connsiteX4" fmla="*/ 8230 w 10000"/>
              <a:gd name="connsiteY4" fmla="*/ 997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8230" y="9970"/>
                </a:moveTo>
                <a:cubicBezTo>
                  <a:pt x="8903" y="7585"/>
                  <a:pt x="10000" y="3274"/>
                  <a:pt x="6523" y="0"/>
                </a:cubicBezTo>
                <a:cubicBezTo>
                  <a:pt x="2736" y="3208"/>
                  <a:pt x="901" y="3230"/>
                  <a:pt x="0" y="2512"/>
                </a:cubicBezTo>
                <a:lnTo>
                  <a:pt x="0" y="9970"/>
                </a:lnTo>
                <a:cubicBezTo>
                  <a:pt x="2726" y="10000"/>
                  <a:pt x="5748" y="9983"/>
                  <a:pt x="8230" y="9970"/>
                </a:cubicBezTo>
                <a:close/>
              </a:path>
            </a:pathLst>
          </a:custGeom>
          <a:solidFill>
            <a:schemeClr val="accent5"/>
          </a:solidFill>
          <a:ln>
            <a:noFill/>
          </a:ln>
        </p:spPr>
        <p:txBody>
          <a:bodyPr vert="horz" wrap="square" lIns="91424" tIns="45712" rIns="91424" bIns="45712" numCol="1" anchor="t" anchorCtr="0" compatLnSpc="1">
            <a:prstTxWarp prst="textNoShape">
              <a:avLst/>
            </a:prstTxWarp>
          </a:bodyPr>
          <a:lstStyle/>
          <a:p>
            <a:endParaRPr lang="en-US" sz="1800" dirty="0"/>
          </a:p>
        </p:txBody>
      </p:sp>
    </p:spTree>
    <p:extLst>
      <p:ext uri="{BB962C8B-B14F-4D97-AF65-F5344CB8AC3E}">
        <p14:creationId xmlns:p14="http://schemas.microsoft.com/office/powerpoint/2010/main" val="1763426431"/>
      </p:ext>
    </p:extLst>
  </p:cSld>
  <p:clrMapOvr>
    <a:masterClrMapping/>
  </p:clrMapOvr>
  <p:hf sldNum="0" hdr="0" dt="0"/>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pl-PL"/>
          </a:p>
        </p:txBody>
      </p:sp>
      <p:sp>
        <p:nvSpPr>
          <p:cNvPr id="8" name="Content Placeholder 7"/>
          <p:cNvSpPr>
            <a:spLocks noGrp="1"/>
          </p:cNvSpPr>
          <p:nvPr>
            <p:ph sz="quarter" idx="10"/>
          </p:nvPr>
        </p:nvSpPr>
        <p:spPr>
          <a:xfrm>
            <a:off x="324266" y="1412776"/>
            <a:ext cx="8495469" cy="4896544"/>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pl-PL" dirty="0"/>
          </a:p>
        </p:txBody>
      </p:sp>
    </p:spTree>
    <p:extLst>
      <p:ext uri="{BB962C8B-B14F-4D97-AF65-F5344CB8AC3E}">
        <p14:creationId xmlns:p14="http://schemas.microsoft.com/office/powerpoint/2010/main" val="424588453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Cover 5">
    <p:bg>
      <p:bgPr>
        <a:solidFill>
          <a:schemeClr val="bg1"/>
        </a:solidFill>
        <a:effectLst/>
      </p:bgPr>
    </p:bg>
    <p:spTree>
      <p:nvGrpSpPr>
        <p:cNvPr id="1" name=""/>
        <p:cNvGrpSpPr/>
        <p:nvPr/>
      </p:nvGrpSpPr>
      <p:grpSpPr>
        <a:xfrm>
          <a:off x="0" y="0"/>
          <a:ext cx="0" cy="0"/>
          <a:chOff x="0" y="0"/>
          <a:chExt cx="0" cy="0"/>
        </a:xfrm>
      </p:grpSpPr>
      <p:pic>
        <p:nvPicPr>
          <p:cNvPr id="15" name="Picture 14" descr="Cover_small_1600px2.jpg"/>
          <p:cNvPicPr>
            <a:picLocks noChangeAspect="1"/>
          </p:cNvPicPr>
          <p:nvPr/>
        </p:nvPicPr>
        <p:blipFill>
          <a:blip r:embed="rId2" cstate="print"/>
          <a:stretch>
            <a:fillRect/>
          </a:stretch>
        </p:blipFill>
        <p:spPr>
          <a:xfrm>
            <a:off x="794" y="0"/>
            <a:ext cx="9142412" cy="6858000"/>
          </a:xfrm>
          <a:prstGeom prst="rect">
            <a:avLst/>
          </a:prstGeom>
        </p:spPr>
      </p:pic>
      <p:sp>
        <p:nvSpPr>
          <p:cNvPr id="10" name="Text Placeholder 13">
            <a:extLst>
              <a:ext uri="{FF2B5EF4-FFF2-40B4-BE49-F238E27FC236}">
                <a16:creationId xmlns:a16="http://schemas.microsoft.com/office/drawing/2014/main" id="{7D1DC75A-C7A4-44A4-B19C-D445335545B0}"/>
              </a:ext>
            </a:extLst>
          </p:cNvPr>
          <p:cNvSpPr>
            <a:spLocks noGrp="1"/>
          </p:cNvSpPr>
          <p:nvPr>
            <p:ph type="body" sz="quarter" idx="11"/>
          </p:nvPr>
        </p:nvSpPr>
        <p:spPr>
          <a:xfrm>
            <a:off x="305991" y="1700808"/>
            <a:ext cx="4625987" cy="869950"/>
          </a:xfrm>
        </p:spPr>
        <p:txBody>
          <a:bodyPr lIns="0" tIns="0" rIns="0" bIns="0" anchor="b">
            <a:normAutofit/>
          </a:bodyPr>
          <a:lstStyle>
            <a:lvl1pPr>
              <a:lnSpc>
                <a:spcPts val="2999"/>
              </a:lnSpc>
              <a:defRPr sz="2599" baseline="0">
                <a:solidFill>
                  <a:schemeClr val="accent1"/>
                </a:solidFill>
              </a:defRPr>
            </a:lvl1pPr>
            <a:lvl2pPr>
              <a:defRPr sz="2400">
                <a:solidFill>
                  <a:schemeClr val="bg1"/>
                </a:solidFill>
              </a:defRPr>
            </a:lvl2pPr>
          </a:lstStyle>
          <a:p>
            <a:pPr lvl="0"/>
            <a:r>
              <a:rPr lang="en-US"/>
              <a:t>Edit Master text styles</a:t>
            </a:r>
          </a:p>
        </p:txBody>
      </p:sp>
      <p:sp>
        <p:nvSpPr>
          <p:cNvPr id="11" name="Text Placeholder 13">
            <a:extLst>
              <a:ext uri="{FF2B5EF4-FFF2-40B4-BE49-F238E27FC236}">
                <a16:creationId xmlns:a16="http://schemas.microsoft.com/office/drawing/2014/main" id="{563879A0-0979-491A-8758-371BB7AD935B}"/>
              </a:ext>
            </a:extLst>
          </p:cNvPr>
          <p:cNvSpPr>
            <a:spLocks noGrp="1"/>
          </p:cNvSpPr>
          <p:nvPr>
            <p:ph type="body" sz="quarter" idx="12" hasCustomPrompt="1"/>
          </p:nvPr>
        </p:nvSpPr>
        <p:spPr>
          <a:xfrm>
            <a:off x="305991" y="2685770"/>
            <a:ext cx="4625987" cy="1196340"/>
          </a:xfrm>
        </p:spPr>
        <p:txBody>
          <a:bodyPr lIns="0" tIns="0" rIns="0" bIns="0">
            <a:normAutofit/>
          </a:bodyPr>
          <a:lstStyle>
            <a:lvl1pPr>
              <a:lnSpc>
                <a:spcPts val="1800"/>
              </a:lnSpc>
              <a:defRPr sz="1600">
                <a:solidFill>
                  <a:schemeClr val="accent1"/>
                </a:solidFill>
              </a:defRPr>
            </a:lvl1pPr>
            <a:lvl2pPr>
              <a:defRPr sz="1600">
                <a:solidFill>
                  <a:schemeClr val="bg1"/>
                </a:solidFill>
              </a:defRPr>
            </a:lvl2pPr>
          </a:lstStyle>
          <a:p>
            <a:pPr lvl="0"/>
            <a:r>
              <a:rPr lang="en-US" dirty="0"/>
              <a:t>Click to insert presenter, location, and date</a:t>
            </a:r>
            <a:endParaRPr lang="pt-PT" dirty="0"/>
          </a:p>
        </p:txBody>
      </p:sp>
      <p:pic>
        <p:nvPicPr>
          <p:cNvPr id="7" name="Graphic 9">
            <a:extLst>
              <a:ext uri="{FF2B5EF4-FFF2-40B4-BE49-F238E27FC236}">
                <a16:creationId xmlns:a16="http://schemas.microsoft.com/office/drawing/2014/main" id="{C3D2EC56-D17C-4A75-8178-C69397BC7353}"/>
              </a:ext>
            </a:extLst>
          </p:cNvPr>
          <p:cNvPicPr>
            <a:picLocks noChangeAspect="1"/>
          </p:cNvPicPr>
          <p:nvPr/>
        </p:nvPicPr>
        <p:blipFill>
          <a:blip r:embed="rId3" cstate="print">
            <a:extLst>
              <a:ext uri="{96DAC541-7B7A-43D3-8B79-37D633B846F1}">
                <asvg:svgBlip xmlns:asvg="http://schemas.microsoft.com/office/drawing/2016/SVG/main" r:embed="rId4"/>
              </a:ext>
            </a:extLst>
          </a:blip>
          <a:stretch>
            <a:fillRect/>
          </a:stretch>
        </p:blipFill>
        <p:spPr>
          <a:xfrm>
            <a:off x="407917" y="404665"/>
            <a:ext cx="2285603" cy="510013"/>
          </a:xfrm>
          <a:prstGeom prst="rect">
            <a:avLst/>
          </a:prstGeom>
        </p:spPr>
      </p:pic>
    </p:spTree>
    <p:extLst>
      <p:ext uri="{BB962C8B-B14F-4D97-AF65-F5344CB8AC3E}">
        <p14:creationId xmlns:p14="http://schemas.microsoft.com/office/powerpoint/2010/main" val="2752690580"/>
      </p:ext>
    </p:extLst>
  </p:cSld>
  <p:clrMapOvr>
    <a:masterClrMapping/>
  </p:clrMapOvr>
  <p:hf sldNum="0" hdr="0" dt="0"/>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Cover 6">
    <p:bg>
      <p:bgPr>
        <a:solidFill>
          <a:schemeClr val="bg1"/>
        </a:solidFill>
        <a:effectLst/>
      </p:bgPr>
    </p:bg>
    <p:spTree>
      <p:nvGrpSpPr>
        <p:cNvPr id="1" name=""/>
        <p:cNvGrpSpPr/>
        <p:nvPr/>
      </p:nvGrpSpPr>
      <p:grpSpPr>
        <a:xfrm>
          <a:off x="0" y="0"/>
          <a:ext cx="0" cy="0"/>
          <a:chOff x="0" y="0"/>
          <a:chExt cx="0" cy="0"/>
        </a:xfrm>
      </p:grpSpPr>
      <p:sp>
        <p:nvSpPr>
          <p:cNvPr id="4" name="Rectangle 3"/>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pic>
        <p:nvPicPr>
          <p:cNvPr id="3" name="Graphic 2">
            <a:extLst>
              <a:ext uri="{FF2B5EF4-FFF2-40B4-BE49-F238E27FC236}">
                <a16:creationId xmlns:a16="http://schemas.microsoft.com/office/drawing/2014/main" id="{02DEF159-660E-4893-A63C-7C2BB5EEB9A1}"/>
              </a:ext>
            </a:extLst>
          </p:cNvPr>
          <p:cNvPicPr>
            <a:picLocks noChangeAspect="1"/>
          </p:cNvPicPr>
          <p:nvPr/>
        </p:nvPicPr>
        <p:blipFill rotWithShape="1">
          <a:blip r:embed="rId2" cstate="print">
            <a:extLst>
              <a:ext uri="{96DAC541-7B7A-43D3-8B79-37D633B846F1}">
                <asvg:svgBlip xmlns:asvg="http://schemas.microsoft.com/office/drawing/2016/SVG/main" r:embed="rId3"/>
              </a:ext>
            </a:extLst>
          </a:blip>
          <a:srcRect l="10370" t="18343" b="19135"/>
          <a:stretch/>
        </p:blipFill>
        <p:spPr>
          <a:xfrm flipH="1">
            <a:off x="1548189" y="-3448"/>
            <a:ext cx="7595811" cy="6858000"/>
          </a:xfrm>
          <a:prstGeom prst="rect">
            <a:avLst/>
          </a:prstGeom>
        </p:spPr>
      </p:pic>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4212023" y="286731"/>
            <a:ext cx="4481997" cy="1182207"/>
          </a:xfrm>
          <a:prstGeom prst="rect">
            <a:avLst/>
          </a:prstGeom>
        </p:spPr>
        <p:txBody>
          <a:bodyPr anchor="b">
            <a:normAutofit/>
          </a:bodyPr>
          <a:lstStyle>
            <a:lvl1pPr marL="0" indent="0" algn="l">
              <a:lnSpc>
                <a:spcPts val="2999"/>
              </a:lnSpc>
              <a:buNone/>
              <a:defRPr sz="2599">
                <a:solidFill>
                  <a:schemeClr val="accent2"/>
                </a:solidFill>
              </a:defRPr>
            </a:lvl1pPr>
            <a:lvl2pPr marL="457109" indent="0">
              <a:buNone/>
              <a:defRPr sz="5999">
                <a:solidFill>
                  <a:schemeClr val="bg1"/>
                </a:solidFill>
              </a:defRPr>
            </a:lvl2pPr>
          </a:lstStyle>
          <a:p>
            <a:pPr lvl="0"/>
            <a:r>
              <a:rPr lang="en-US" dirty="0"/>
              <a:t>Click to insert section title</a:t>
            </a:r>
            <a:endParaRPr lang="pt-PT" dirty="0"/>
          </a:p>
        </p:txBody>
      </p:sp>
      <p:pic>
        <p:nvPicPr>
          <p:cNvPr id="12" name="Graphic 9">
            <a:extLst>
              <a:ext uri="{FF2B5EF4-FFF2-40B4-BE49-F238E27FC236}">
                <a16:creationId xmlns:a16="http://schemas.microsoft.com/office/drawing/2014/main" id="{C3D2EC56-D17C-4A75-8178-C69397BC7353}"/>
              </a:ext>
            </a:extLst>
          </p:cNvPr>
          <p:cNvPicPr>
            <a:picLocks noChangeAspect="1"/>
          </p:cNvPicPr>
          <p:nvPr/>
        </p:nvPicPr>
        <p:blipFill>
          <a:blip r:embed="rId4" cstate="print">
            <a:extLst>
              <a:ext uri="{96DAC541-7B7A-43D3-8B79-37D633B846F1}">
                <asvg:svgBlip xmlns:asvg="http://schemas.microsoft.com/office/drawing/2016/SVG/main" r:embed="rId5"/>
              </a:ext>
            </a:extLst>
          </a:blip>
          <a:stretch>
            <a:fillRect/>
          </a:stretch>
        </p:blipFill>
        <p:spPr>
          <a:xfrm>
            <a:off x="407917" y="6101473"/>
            <a:ext cx="2285603" cy="510013"/>
          </a:xfrm>
          <a:prstGeom prst="rect">
            <a:avLst/>
          </a:prstGeom>
        </p:spPr>
      </p:pic>
      <p:sp>
        <p:nvSpPr>
          <p:cNvPr id="8" name="Subtitle 2"/>
          <p:cNvSpPr>
            <a:spLocks noGrp="1"/>
          </p:cNvSpPr>
          <p:nvPr>
            <p:ph type="subTitle" idx="1" hasCustomPrompt="1"/>
          </p:nvPr>
        </p:nvSpPr>
        <p:spPr>
          <a:xfrm>
            <a:off x="4212024" y="1628800"/>
            <a:ext cx="4535716"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217"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Click to insert presenter, location, and date</a:t>
            </a:r>
          </a:p>
        </p:txBody>
      </p:sp>
    </p:spTree>
    <p:extLst>
      <p:ext uri="{BB962C8B-B14F-4D97-AF65-F5344CB8AC3E}">
        <p14:creationId xmlns:p14="http://schemas.microsoft.com/office/powerpoint/2010/main" val="4044372748"/>
      </p:ext>
    </p:extLst>
  </p:cSld>
  <p:clrMapOvr>
    <a:masterClrMapping/>
  </p:clrMapOvr>
  <p:hf sldNum="0" hdr="0" dt="0"/>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type="title">
  <p:cSld name="Title Slide 1">
    <p:spTree>
      <p:nvGrpSpPr>
        <p:cNvPr id="1" name=""/>
        <p:cNvGrpSpPr/>
        <p:nvPr/>
      </p:nvGrpSpPr>
      <p:grpSpPr>
        <a:xfrm>
          <a:off x="0" y="0"/>
          <a:ext cx="0" cy="0"/>
          <a:chOff x="0" y="0"/>
          <a:chExt cx="0" cy="0"/>
        </a:xfrm>
      </p:grpSpPr>
      <p:sp>
        <p:nvSpPr>
          <p:cNvPr id="2" name="Title 1"/>
          <p:cNvSpPr>
            <a:spLocks noGrp="1"/>
          </p:cNvSpPr>
          <p:nvPr>
            <p:ph type="ctrTitle" hasCustomPrompt="1"/>
            <p:custDataLst>
              <p:tags r:id="rId1"/>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a:t>Click to </a:t>
            </a:r>
            <a:r>
              <a:rPr lang="fr-FR" dirty="0" err="1"/>
              <a:t>edit</a:t>
            </a:r>
            <a:r>
              <a:rPr lang="fr-FR" dirty="0"/>
              <a:t> Master </a:t>
            </a:r>
            <a:r>
              <a:rPr lang="fr-FR" dirty="0" err="1"/>
              <a:t>title</a:t>
            </a:r>
            <a:r>
              <a:rPr lang="fr-FR" dirty="0"/>
              <a:t> style</a:t>
            </a:r>
            <a:endParaRPr lang="en-US" dirty="0"/>
          </a:p>
        </p:txBody>
      </p:sp>
      <p:sp>
        <p:nvSpPr>
          <p:cNvPr id="3" name="Subtitle 2"/>
          <p:cNvSpPr>
            <a:spLocks noGrp="1"/>
          </p:cNvSpPr>
          <p:nvPr>
            <p:ph type="subTitle" idx="1" hasCustomPrompt="1"/>
            <p:custDataLst>
              <p:tags r:id="rId2"/>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a:t>Click to </a:t>
            </a:r>
            <a:r>
              <a:rPr lang="fr-FR" dirty="0" err="1"/>
              <a:t>edit</a:t>
            </a:r>
            <a:r>
              <a:rPr lang="fr-FR" dirty="0"/>
              <a:t> Master </a:t>
            </a:r>
            <a:r>
              <a:rPr lang="fr-FR" dirty="0" err="1"/>
              <a:t>text</a:t>
            </a:r>
            <a:r>
              <a:rPr lang="fr-FR" dirty="0"/>
              <a:t> style</a:t>
            </a:r>
          </a:p>
        </p:txBody>
      </p:sp>
    </p:spTree>
    <p:extLst>
      <p:ext uri="{BB962C8B-B14F-4D97-AF65-F5344CB8AC3E}">
        <p14:creationId xmlns:p14="http://schemas.microsoft.com/office/powerpoint/2010/main" val="1119484203"/>
      </p:ext>
    </p:extLst>
  </p:cSld>
  <p:clrMapOvr>
    <a:masterClrMapping/>
  </p:clrMapOvr>
  <p:hf sldNum="0" hdr="0" dt="0"/>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400853182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9238" name="think-cell Slide" r:id="rId6" imgW="360" imgH="360" progId="">
                  <p:embed/>
                </p:oleObj>
              </mc:Choice>
              <mc:Fallback>
                <p:oleObj name="think-cell Slide" r:id="rId6" imgW="360" imgH="36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137124525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7" y="1494766"/>
            <a:ext cx="6649748"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74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34450236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15.xml"/><Relationship Id="rId7" Type="http://schemas.openxmlformats.org/officeDocument/2006/relationships/image" Target="../media/image13.png"/><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theme" Target="../theme/theme2.xml"/><Relationship Id="rId5" Type="http://schemas.openxmlformats.org/officeDocument/2006/relationships/slideLayout" Target="../slideLayouts/slideLayout17.xml"/><Relationship Id="rId4" Type="http://schemas.openxmlformats.org/officeDocument/2006/relationships/slideLayout" Target="../slideLayouts/slideLayout16.xml"/></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20.xml"/><Relationship Id="rId2" Type="http://schemas.openxmlformats.org/officeDocument/2006/relationships/slideLayout" Target="../slideLayouts/slideLayout19.xml"/><Relationship Id="rId1" Type="http://schemas.openxmlformats.org/officeDocument/2006/relationships/slideLayout" Target="../slideLayouts/slideLayout18.xml"/><Relationship Id="rId6" Type="http://schemas.openxmlformats.org/officeDocument/2006/relationships/image" Target="../media/image13.png"/><Relationship Id="rId5" Type="http://schemas.openxmlformats.org/officeDocument/2006/relationships/theme" Target="../theme/theme3.xml"/><Relationship Id="rId4" Type="http://schemas.openxmlformats.org/officeDocument/2006/relationships/slideLayout" Target="../slideLayouts/slideLayout21.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29.xml"/><Relationship Id="rId3" Type="http://schemas.openxmlformats.org/officeDocument/2006/relationships/slideLayout" Target="../slideLayouts/slideLayout24.xml"/><Relationship Id="rId7" Type="http://schemas.openxmlformats.org/officeDocument/2006/relationships/slideLayout" Target="../slideLayouts/slideLayout28.xml"/><Relationship Id="rId2" Type="http://schemas.openxmlformats.org/officeDocument/2006/relationships/slideLayout" Target="../slideLayouts/slideLayout23.xml"/><Relationship Id="rId1" Type="http://schemas.openxmlformats.org/officeDocument/2006/relationships/slideLayout" Target="../slideLayouts/slideLayout22.xml"/><Relationship Id="rId6" Type="http://schemas.openxmlformats.org/officeDocument/2006/relationships/slideLayout" Target="../slideLayouts/slideLayout27.xml"/><Relationship Id="rId11" Type="http://schemas.openxmlformats.org/officeDocument/2006/relationships/image" Target="../media/image13.png"/><Relationship Id="rId5" Type="http://schemas.openxmlformats.org/officeDocument/2006/relationships/slideLayout" Target="../slideLayouts/slideLayout26.xml"/><Relationship Id="rId10" Type="http://schemas.openxmlformats.org/officeDocument/2006/relationships/theme" Target="../theme/theme4.xml"/><Relationship Id="rId4" Type="http://schemas.openxmlformats.org/officeDocument/2006/relationships/slideLayout" Target="../slideLayouts/slideLayout25.xml"/><Relationship Id="rId9" Type="http://schemas.openxmlformats.org/officeDocument/2006/relationships/slideLayout" Target="../slideLayouts/slideLayout30.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A4D17236-A440-4453-A69C-BE3728C11608}"/>
              </a:ext>
            </a:extLst>
          </p:cNvPr>
          <p:cNvSpPr>
            <a:spLocks noGrp="1"/>
          </p:cNvSpPr>
          <p:nvPr>
            <p:ph type="body" idx="1"/>
          </p:nvPr>
        </p:nvSpPr>
        <p:spPr>
          <a:xfrm>
            <a:off x="305991" y="1412875"/>
            <a:ext cx="8532018" cy="4764088"/>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pt-PT" dirty="0"/>
          </a:p>
        </p:txBody>
      </p:sp>
      <p:sp>
        <p:nvSpPr>
          <p:cNvPr id="6" name="Title Placeholder 1">
            <a:extLst>
              <a:ext uri="{FF2B5EF4-FFF2-40B4-BE49-F238E27FC236}">
                <a16:creationId xmlns:a16="http://schemas.microsoft.com/office/drawing/2014/main" id="{366C6B93-5A4F-43B7-84C4-C42EC870AB53}"/>
              </a:ext>
            </a:extLst>
          </p:cNvPr>
          <p:cNvSpPr>
            <a:spLocks noGrp="1"/>
          </p:cNvSpPr>
          <p:nvPr>
            <p:ph type="title"/>
          </p:nvPr>
        </p:nvSpPr>
        <p:spPr>
          <a:xfrm>
            <a:off x="309802" y="260648"/>
            <a:ext cx="8509933" cy="859536"/>
          </a:xfrm>
          <a:prstGeom prst="rect">
            <a:avLst/>
          </a:prstGeom>
        </p:spPr>
        <p:txBody>
          <a:bodyPr vert="horz" lIns="0" tIns="0" rIns="0" bIns="0" rtlCol="0" anchor="t">
            <a:normAutofit/>
          </a:bodyPr>
          <a:lstStyle/>
          <a:p>
            <a:pPr lvl="0">
              <a:lnSpc>
                <a:spcPts val="2999"/>
              </a:lnSpc>
            </a:pPr>
            <a:r>
              <a:rPr lang="en-US"/>
              <a:t>Click to edit Master title style</a:t>
            </a:r>
            <a:endParaRPr lang="pt-PT" dirty="0"/>
          </a:p>
        </p:txBody>
      </p:sp>
    </p:spTree>
    <p:extLst>
      <p:ext uri="{BB962C8B-B14F-4D97-AF65-F5344CB8AC3E}">
        <p14:creationId xmlns:p14="http://schemas.microsoft.com/office/powerpoint/2010/main" val="1991246037"/>
      </p:ext>
    </p:extLst>
  </p:cSld>
  <p:clrMap bg1="lt1" tx1="dk1" bg2="lt2" tx2="dk2" accent1="accent1" accent2="accent2" accent3="accent3" accent4="accent4" accent5="accent5" accent6="accent6" hlink="hlink" folHlink="folHlink"/>
  <p:sldLayoutIdLst>
    <p:sldLayoutId id="2147483690" r:id="rId1"/>
    <p:sldLayoutId id="2147483691" r:id="rId2"/>
    <p:sldLayoutId id="2147483692" r:id="rId3"/>
    <p:sldLayoutId id="2147483693" r:id="rId4"/>
    <p:sldLayoutId id="2147483694" r:id="rId5"/>
    <p:sldLayoutId id="2147483695" r:id="rId6"/>
    <p:sldLayoutId id="2147483696" r:id="rId7"/>
    <p:sldLayoutId id="2147483697" r:id="rId8"/>
    <p:sldLayoutId id="2147483698" r:id="rId9"/>
    <p:sldLayoutId id="2147483699" r:id="rId10"/>
    <p:sldLayoutId id="2147483700" r:id="rId11"/>
    <p:sldLayoutId id="2147483701" r:id="rId12"/>
  </p:sldLayoutIdLst>
  <p:hf sldNum="0" hdr="0" dt="0"/>
  <p:txStyles>
    <p:titleStyle>
      <a:lvl1pPr algn="l" defTabSz="914217" rtl="0" eaLnBrk="1" latinLnBrk="0" hangingPunct="1">
        <a:lnSpc>
          <a:spcPts val="2999"/>
        </a:lnSpc>
        <a:spcBef>
          <a:spcPct val="0"/>
        </a:spcBef>
        <a:buNone/>
        <a:defRPr sz="2599" kern="1200">
          <a:solidFill>
            <a:schemeClr val="accent1"/>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217" rtl="0" eaLnBrk="1" latinLnBrk="0" hangingPunct="1">
        <a:lnSpc>
          <a:spcPct val="90000"/>
        </a:lnSpc>
        <a:spcBef>
          <a:spcPts val="1000"/>
        </a:spcBef>
        <a:buFont typeface="Arial" panose="020B0604020202020204" pitchFamily="34" charset="0"/>
        <a:buNone/>
        <a:defRPr sz="180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685663" indent="-228554" algn="l" defTabSz="914217" rtl="0" eaLnBrk="1" latinLnBrk="0" hangingPunct="1">
        <a:lnSpc>
          <a:spcPct val="90000"/>
        </a:lnSpc>
        <a:spcBef>
          <a:spcPts val="500"/>
        </a:spcBef>
        <a:buClr>
          <a:schemeClr val="accent1"/>
        </a:buClr>
        <a:buFont typeface="Wingdings" pitchFamily="2" charset="2"/>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1142771" indent="-228554" algn="l" defTabSz="914217" rtl="0" eaLnBrk="1" latinLnBrk="0" hangingPunct="1">
        <a:lnSpc>
          <a:spcPct val="90000"/>
        </a:lnSpc>
        <a:spcBef>
          <a:spcPts val="500"/>
        </a:spcBef>
        <a:buClr>
          <a:schemeClr val="accent2"/>
        </a:buClr>
        <a:buFont typeface="Arial" panose="020B0604020202020204" pitchFamily="34" charset="0"/>
        <a:buChar char="•"/>
        <a:defRPr sz="140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599880" indent="-228554" algn="l" defTabSz="914217" rtl="0" eaLnBrk="1" latinLnBrk="0" hangingPunct="1">
        <a:lnSpc>
          <a:spcPct val="90000"/>
        </a:lnSpc>
        <a:spcBef>
          <a:spcPts val="500"/>
        </a:spcBef>
        <a:buFont typeface="Verdana"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2056989" indent="-228554" algn="l" defTabSz="914217" rtl="0" eaLnBrk="1" latinLnBrk="0" hangingPunct="1">
        <a:lnSpc>
          <a:spcPct val="90000"/>
        </a:lnSpc>
        <a:spcBef>
          <a:spcPts val="500"/>
        </a:spcBef>
        <a:buClr>
          <a:schemeClr val="accent5"/>
        </a:buClr>
        <a:buFont typeface="Arial" panose="020B0604020202020204"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2514097"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206"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314"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423"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217" rtl="0" eaLnBrk="1" latinLnBrk="0" hangingPunct="1">
        <a:defRPr sz="1800" kern="1200">
          <a:solidFill>
            <a:schemeClr val="tx1"/>
          </a:solidFill>
          <a:latin typeface="+mn-lt"/>
          <a:ea typeface="+mn-ea"/>
          <a:cs typeface="+mn-cs"/>
        </a:defRPr>
      </a:lvl1pPr>
      <a:lvl2pPr marL="457109" algn="l" defTabSz="914217" rtl="0" eaLnBrk="1" latinLnBrk="0" hangingPunct="1">
        <a:defRPr sz="1800" kern="1200">
          <a:solidFill>
            <a:schemeClr val="tx1"/>
          </a:solidFill>
          <a:latin typeface="+mn-lt"/>
          <a:ea typeface="+mn-ea"/>
          <a:cs typeface="+mn-cs"/>
        </a:defRPr>
      </a:lvl2pPr>
      <a:lvl3pPr marL="914217" algn="l" defTabSz="914217" rtl="0" eaLnBrk="1" latinLnBrk="0" hangingPunct="1">
        <a:defRPr sz="1800" kern="1200">
          <a:solidFill>
            <a:schemeClr val="tx1"/>
          </a:solidFill>
          <a:latin typeface="+mn-lt"/>
          <a:ea typeface="+mn-ea"/>
          <a:cs typeface="+mn-cs"/>
        </a:defRPr>
      </a:lvl3pPr>
      <a:lvl4pPr marL="1371326" algn="l" defTabSz="914217" rtl="0" eaLnBrk="1" latinLnBrk="0" hangingPunct="1">
        <a:defRPr sz="1800" kern="1200">
          <a:solidFill>
            <a:schemeClr val="tx1"/>
          </a:solidFill>
          <a:latin typeface="+mn-lt"/>
          <a:ea typeface="+mn-ea"/>
          <a:cs typeface="+mn-cs"/>
        </a:defRPr>
      </a:lvl4pPr>
      <a:lvl5pPr marL="1828434" algn="l" defTabSz="914217" rtl="0" eaLnBrk="1" latinLnBrk="0" hangingPunct="1">
        <a:defRPr sz="1800" kern="1200">
          <a:solidFill>
            <a:schemeClr val="tx1"/>
          </a:solidFill>
          <a:latin typeface="+mn-lt"/>
          <a:ea typeface="+mn-ea"/>
          <a:cs typeface="+mn-cs"/>
        </a:defRPr>
      </a:lvl5pPr>
      <a:lvl6pPr marL="2285543" algn="l" defTabSz="914217" rtl="0" eaLnBrk="1" latinLnBrk="0" hangingPunct="1">
        <a:defRPr sz="1800" kern="1200">
          <a:solidFill>
            <a:schemeClr val="tx1"/>
          </a:solidFill>
          <a:latin typeface="+mn-lt"/>
          <a:ea typeface="+mn-ea"/>
          <a:cs typeface="+mn-cs"/>
        </a:defRPr>
      </a:lvl6pPr>
      <a:lvl7pPr marL="2742651" algn="l" defTabSz="914217" rtl="0" eaLnBrk="1" latinLnBrk="0" hangingPunct="1">
        <a:defRPr sz="1800" kern="1200">
          <a:solidFill>
            <a:schemeClr val="tx1"/>
          </a:solidFill>
          <a:latin typeface="+mn-lt"/>
          <a:ea typeface="+mn-ea"/>
          <a:cs typeface="+mn-cs"/>
        </a:defRPr>
      </a:lvl7pPr>
      <a:lvl8pPr marL="3199760" algn="l" defTabSz="914217" rtl="0" eaLnBrk="1" latinLnBrk="0" hangingPunct="1">
        <a:defRPr sz="1800" kern="1200">
          <a:solidFill>
            <a:schemeClr val="tx1"/>
          </a:solidFill>
          <a:latin typeface="+mn-lt"/>
          <a:ea typeface="+mn-ea"/>
          <a:cs typeface="+mn-cs"/>
        </a:defRPr>
      </a:lvl8pPr>
      <a:lvl9pPr marL="3656868" algn="l" defTabSz="91421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065">
          <p15:clr>
            <a:srgbClr val="F26B43"/>
          </p15:clr>
        </p15:guide>
        <p15:guide id="2" pos="257">
          <p15:clr>
            <a:srgbClr val="F26B43"/>
          </p15:clr>
        </p15:guide>
        <p15:guide id="3" pos="7423">
          <p15:clr>
            <a:srgbClr val="F26B43"/>
          </p15:clr>
        </p15:guide>
        <p15:guide id="4" orient="horz" pos="255">
          <p15:clr>
            <a:srgbClr val="F26B43"/>
          </p15:clr>
        </p15:guide>
        <p15:guide id="5" orient="horz" pos="799">
          <p15:clr>
            <a:srgbClr val="F26B43"/>
          </p15:clr>
        </p15:guide>
        <p15:guide id="6" orient="horz" pos="890">
          <p15:clr>
            <a:srgbClr val="F26B43"/>
          </p15:clr>
        </p15:guide>
        <p15:guide id="7" pos="3840">
          <p15:clr>
            <a:srgbClr val="F26B43"/>
          </p15:clr>
        </p15:guide>
        <p15:guide id="8" pos="3749">
          <p15:clr>
            <a:srgbClr val="F26B43"/>
          </p15:clr>
        </p15:guide>
        <p15:guide id="9" pos="393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A4D17236-A440-4453-A69C-BE3728C11608}"/>
              </a:ext>
            </a:extLst>
          </p:cNvPr>
          <p:cNvSpPr>
            <a:spLocks noGrp="1"/>
          </p:cNvSpPr>
          <p:nvPr>
            <p:ph type="body" idx="1"/>
          </p:nvPr>
        </p:nvSpPr>
        <p:spPr>
          <a:xfrm>
            <a:off x="305991" y="1412875"/>
            <a:ext cx="8532018" cy="4764088"/>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pt-PT" dirty="0"/>
          </a:p>
        </p:txBody>
      </p:sp>
      <p:sp>
        <p:nvSpPr>
          <p:cNvPr id="6" name="Title Placeholder 1">
            <a:extLst>
              <a:ext uri="{FF2B5EF4-FFF2-40B4-BE49-F238E27FC236}">
                <a16:creationId xmlns:a16="http://schemas.microsoft.com/office/drawing/2014/main" id="{366C6B93-5A4F-43B7-84C4-C42EC870AB53}"/>
              </a:ext>
            </a:extLst>
          </p:cNvPr>
          <p:cNvSpPr>
            <a:spLocks noGrp="1"/>
          </p:cNvSpPr>
          <p:nvPr>
            <p:ph type="title"/>
          </p:nvPr>
        </p:nvSpPr>
        <p:spPr>
          <a:xfrm>
            <a:off x="309802" y="260648"/>
            <a:ext cx="8509933" cy="859536"/>
          </a:xfrm>
          <a:prstGeom prst="rect">
            <a:avLst/>
          </a:prstGeom>
        </p:spPr>
        <p:txBody>
          <a:bodyPr vert="horz" lIns="0" tIns="0" rIns="0" bIns="0" rtlCol="0" anchor="t">
            <a:normAutofit/>
          </a:bodyPr>
          <a:lstStyle/>
          <a:p>
            <a:pPr lvl="0">
              <a:lnSpc>
                <a:spcPts val="2999"/>
              </a:lnSpc>
            </a:pPr>
            <a:r>
              <a:rPr lang="en-US"/>
              <a:t>Click to edit Master title style</a:t>
            </a:r>
            <a:endParaRPr lang="pt-PT" dirty="0"/>
          </a:p>
        </p:txBody>
      </p:sp>
      <p:sp>
        <p:nvSpPr>
          <p:cNvPr id="7" name="Retângulo 43">
            <a:extLst>
              <a:ext uri="{FF2B5EF4-FFF2-40B4-BE49-F238E27FC236}">
                <a16:creationId xmlns:a16="http://schemas.microsoft.com/office/drawing/2014/main" id="{25FC8637-25BD-4C09-AF25-56B4243DAB3D}"/>
              </a:ext>
            </a:extLst>
          </p:cNvPr>
          <p:cNvSpPr/>
          <p:nvPr/>
        </p:nvSpPr>
        <p:spPr>
          <a:xfrm>
            <a:off x="8658858" y="6555758"/>
            <a:ext cx="360933"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sp>
        <p:nvSpPr>
          <p:cNvPr id="8" name="Retângulo 43">
            <a:extLst>
              <a:ext uri="{FF2B5EF4-FFF2-40B4-BE49-F238E27FC236}">
                <a16:creationId xmlns:a16="http://schemas.microsoft.com/office/drawing/2014/main" id="{834ADCB4-BFB1-450D-8F6D-64217F4CD92C}"/>
              </a:ext>
            </a:extLst>
          </p:cNvPr>
          <p:cNvSpPr/>
          <p:nvPr/>
        </p:nvSpPr>
        <p:spPr>
          <a:xfrm>
            <a:off x="324266" y="6555758"/>
            <a:ext cx="1667764"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8 Capgemini. All rights reserved.</a:t>
            </a:r>
          </a:p>
        </p:txBody>
      </p:sp>
      <p:pic>
        <p:nvPicPr>
          <p:cNvPr id="9" name="Picture 8" descr="SPADE.png"/>
          <p:cNvPicPr>
            <a:picLocks noChangeAspect="1"/>
          </p:cNvPicPr>
          <p:nvPr/>
        </p:nvPicPr>
        <p:blipFill>
          <a:blip r:embed="rId7" cstate="print"/>
          <a:stretch>
            <a:fillRect/>
          </a:stretch>
        </p:blipFill>
        <p:spPr>
          <a:xfrm>
            <a:off x="8465783" y="203647"/>
            <a:ext cx="420168" cy="420241"/>
          </a:xfrm>
          <a:prstGeom prst="rect">
            <a:avLst/>
          </a:prstGeom>
        </p:spPr>
      </p:pic>
    </p:spTree>
    <p:extLst>
      <p:ext uri="{BB962C8B-B14F-4D97-AF65-F5344CB8AC3E}">
        <p14:creationId xmlns:p14="http://schemas.microsoft.com/office/powerpoint/2010/main" val="2880158199"/>
      </p:ext>
    </p:extLst>
  </p:cSld>
  <p:clrMap bg1="lt1" tx1="dk1" bg2="lt2" tx2="dk2" accent1="accent1" accent2="accent2" accent3="accent3" accent4="accent4" accent5="accent5" accent6="accent6" hlink="hlink" folHlink="folHlink"/>
  <p:sldLayoutIdLst>
    <p:sldLayoutId id="2147483703" r:id="rId1"/>
    <p:sldLayoutId id="2147483704" r:id="rId2"/>
    <p:sldLayoutId id="2147483705" r:id="rId3"/>
    <p:sldLayoutId id="2147483706" r:id="rId4"/>
    <p:sldLayoutId id="2147483707" r:id="rId5"/>
  </p:sldLayoutIdLst>
  <p:txStyles>
    <p:titleStyle>
      <a:lvl1pPr algn="l" defTabSz="914217" rtl="0" eaLnBrk="1" latinLnBrk="0" hangingPunct="1">
        <a:lnSpc>
          <a:spcPts val="2999"/>
        </a:lnSpc>
        <a:spcBef>
          <a:spcPct val="0"/>
        </a:spcBef>
        <a:buNone/>
        <a:defRPr sz="2599" kern="1200">
          <a:solidFill>
            <a:schemeClr val="accent1"/>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217" rtl="0" eaLnBrk="1" latinLnBrk="0" hangingPunct="1">
        <a:lnSpc>
          <a:spcPct val="90000"/>
        </a:lnSpc>
        <a:spcBef>
          <a:spcPts val="1000"/>
        </a:spcBef>
        <a:buFont typeface="Arial" panose="020B0604020202020204" pitchFamily="34" charset="0"/>
        <a:buNone/>
        <a:defRPr sz="180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266647" indent="-180939" algn="l" defTabSz="914217" rtl="0" eaLnBrk="1" latinLnBrk="0" hangingPunct="1">
        <a:lnSpc>
          <a:spcPct val="90000"/>
        </a:lnSpc>
        <a:spcBef>
          <a:spcPts val="500"/>
        </a:spcBef>
        <a:buClr>
          <a:schemeClr val="accent1"/>
        </a:buClr>
        <a:buFont typeface="Wingdings" pitchFamily="2" charset="2"/>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447585" indent="-180939" algn="l" defTabSz="914217" rtl="0" eaLnBrk="1" latinLnBrk="0" hangingPunct="1">
        <a:lnSpc>
          <a:spcPct val="90000"/>
        </a:lnSpc>
        <a:spcBef>
          <a:spcPts val="500"/>
        </a:spcBef>
        <a:buClr>
          <a:schemeClr val="accent2"/>
        </a:buClr>
        <a:buFont typeface="Arial" panose="020B0604020202020204" pitchFamily="34" charset="0"/>
        <a:buChar char="•"/>
        <a:defRPr sz="140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628524" indent="-180939" algn="l" defTabSz="914217" rtl="0" eaLnBrk="1" latinLnBrk="0" hangingPunct="1">
        <a:lnSpc>
          <a:spcPct val="90000"/>
        </a:lnSpc>
        <a:spcBef>
          <a:spcPts val="500"/>
        </a:spcBef>
        <a:buFont typeface="Verdana"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809463" indent="-180939" algn="l" defTabSz="914217" rtl="0" eaLnBrk="1" latinLnBrk="0" hangingPunct="1">
        <a:lnSpc>
          <a:spcPct val="90000"/>
        </a:lnSpc>
        <a:spcBef>
          <a:spcPts val="500"/>
        </a:spcBef>
        <a:buClr>
          <a:schemeClr val="accent5"/>
        </a:buClr>
        <a:buFont typeface="Arial" panose="020B0604020202020204"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2514097"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206"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314"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423"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217" rtl="0" eaLnBrk="1" latinLnBrk="0" hangingPunct="1">
        <a:defRPr sz="1800" kern="1200">
          <a:solidFill>
            <a:schemeClr val="tx1"/>
          </a:solidFill>
          <a:latin typeface="+mn-lt"/>
          <a:ea typeface="+mn-ea"/>
          <a:cs typeface="+mn-cs"/>
        </a:defRPr>
      </a:lvl1pPr>
      <a:lvl2pPr marL="457109" algn="l" defTabSz="914217" rtl="0" eaLnBrk="1" latinLnBrk="0" hangingPunct="1">
        <a:defRPr sz="1800" kern="1200">
          <a:solidFill>
            <a:schemeClr val="tx1"/>
          </a:solidFill>
          <a:latin typeface="+mn-lt"/>
          <a:ea typeface="+mn-ea"/>
          <a:cs typeface="+mn-cs"/>
        </a:defRPr>
      </a:lvl2pPr>
      <a:lvl3pPr marL="914217" algn="l" defTabSz="914217" rtl="0" eaLnBrk="1" latinLnBrk="0" hangingPunct="1">
        <a:defRPr sz="1800" kern="1200">
          <a:solidFill>
            <a:schemeClr val="tx1"/>
          </a:solidFill>
          <a:latin typeface="+mn-lt"/>
          <a:ea typeface="+mn-ea"/>
          <a:cs typeface="+mn-cs"/>
        </a:defRPr>
      </a:lvl3pPr>
      <a:lvl4pPr marL="1371326" algn="l" defTabSz="914217" rtl="0" eaLnBrk="1" latinLnBrk="0" hangingPunct="1">
        <a:defRPr sz="1800" kern="1200">
          <a:solidFill>
            <a:schemeClr val="tx1"/>
          </a:solidFill>
          <a:latin typeface="+mn-lt"/>
          <a:ea typeface="+mn-ea"/>
          <a:cs typeface="+mn-cs"/>
        </a:defRPr>
      </a:lvl4pPr>
      <a:lvl5pPr marL="1828434" algn="l" defTabSz="914217" rtl="0" eaLnBrk="1" latinLnBrk="0" hangingPunct="1">
        <a:defRPr sz="1800" kern="1200">
          <a:solidFill>
            <a:schemeClr val="tx1"/>
          </a:solidFill>
          <a:latin typeface="+mn-lt"/>
          <a:ea typeface="+mn-ea"/>
          <a:cs typeface="+mn-cs"/>
        </a:defRPr>
      </a:lvl5pPr>
      <a:lvl6pPr marL="2285543" algn="l" defTabSz="914217" rtl="0" eaLnBrk="1" latinLnBrk="0" hangingPunct="1">
        <a:defRPr sz="1800" kern="1200">
          <a:solidFill>
            <a:schemeClr val="tx1"/>
          </a:solidFill>
          <a:latin typeface="+mn-lt"/>
          <a:ea typeface="+mn-ea"/>
          <a:cs typeface="+mn-cs"/>
        </a:defRPr>
      </a:lvl6pPr>
      <a:lvl7pPr marL="2742651" algn="l" defTabSz="914217" rtl="0" eaLnBrk="1" latinLnBrk="0" hangingPunct="1">
        <a:defRPr sz="1800" kern="1200">
          <a:solidFill>
            <a:schemeClr val="tx1"/>
          </a:solidFill>
          <a:latin typeface="+mn-lt"/>
          <a:ea typeface="+mn-ea"/>
          <a:cs typeface="+mn-cs"/>
        </a:defRPr>
      </a:lvl7pPr>
      <a:lvl8pPr marL="3199760" algn="l" defTabSz="914217" rtl="0" eaLnBrk="1" latinLnBrk="0" hangingPunct="1">
        <a:defRPr sz="1800" kern="1200">
          <a:solidFill>
            <a:schemeClr val="tx1"/>
          </a:solidFill>
          <a:latin typeface="+mn-lt"/>
          <a:ea typeface="+mn-ea"/>
          <a:cs typeface="+mn-cs"/>
        </a:defRPr>
      </a:lvl8pPr>
      <a:lvl9pPr marL="3656868" algn="l" defTabSz="91421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065">
          <p15:clr>
            <a:srgbClr val="F26B43"/>
          </p15:clr>
        </p15:guide>
        <p15:guide id="2" pos="257">
          <p15:clr>
            <a:srgbClr val="F26B43"/>
          </p15:clr>
        </p15:guide>
        <p15:guide id="3" pos="7423">
          <p15:clr>
            <a:srgbClr val="F26B43"/>
          </p15:clr>
        </p15:guide>
        <p15:guide id="4" orient="horz" pos="255">
          <p15:clr>
            <a:srgbClr val="F26B43"/>
          </p15:clr>
        </p15:guide>
        <p15:guide id="5" orient="horz" pos="799">
          <p15:clr>
            <a:srgbClr val="F26B43"/>
          </p15:clr>
        </p15:guide>
        <p15:guide id="6" orient="horz" pos="890">
          <p15:clr>
            <a:srgbClr val="F26B43"/>
          </p15:clr>
        </p15:guide>
        <p15:guide id="7" pos="3840">
          <p15:clr>
            <a:srgbClr val="F26B43"/>
          </p15:clr>
        </p15:guide>
        <p15:guide id="8" pos="3749">
          <p15:clr>
            <a:srgbClr val="F26B43"/>
          </p15:clr>
        </p15:guide>
        <p15:guide id="9" pos="393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8" name="Title Placeholder 1">
            <a:extLst>
              <a:ext uri="{FF2B5EF4-FFF2-40B4-BE49-F238E27FC236}">
                <a16:creationId xmlns:a16="http://schemas.microsoft.com/office/drawing/2014/main" id="{366C6B93-5A4F-43B7-84C4-C42EC870AB53}"/>
              </a:ext>
            </a:extLst>
          </p:cNvPr>
          <p:cNvSpPr>
            <a:spLocks noGrp="1"/>
          </p:cNvSpPr>
          <p:nvPr>
            <p:ph type="title"/>
          </p:nvPr>
        </p:nvSpPr>
        <p:spPr>
          <a:xfrm>
            <a:off x="309802" y="260648"/>
            <a:ext cx="8509933" cy="859536"/>
          </a:xfrm>
          <a:prstGeom prst="rect">
            <a:avLst/>
          </a:prstGeom>
        </p:spPr>
        <p:txBody>
          <a:bodyPr vert="horz" lIns="0" tIns="0" rIns="0" bIns="0" rtlCol="0" anchor="t">
            <a:normAutofit/>
          </a:bodyPr>
          <a:lstStyle/>
          <a:p>
            <a:pPr lvl="0">
              <a:lnSpc>
                <a:spcPts val="2999"/>
              </a:lnSpc>
            </a:pPr>
            <a:r>
              <a:rPr lang="en-US"/>
              <a:t>Click to edit Master title style</a:t>
            </a:r>
            <a:endParaRPr lang="pt-PT" dirty="0"/>
          </a:p>
        </p:txBody>
      </p:sp>
      <p:sp>
        <p:nvSpPr>
          <p:cNvPr id="9" name="Text Placeholder 2">
            <a:extLst>
              <a:ext uri="{FF2B5EF4-FFF2-40B4-BE49-F238E27FC236}">
                <a16:creationId xmlns:a16="http://schemas.microsoft.com/office/drawing/2014/main" id="{AF310831-D03E-404B-934F-73B268225B7E}"/>
              </a:ext>
            </a:extLst>
          </p:cNvPr>
          <p:cNvSpPr>
            <a:spLocks noGrp="1"/>
          </p:cNvSpPr>
          <p:nvPr>
            <p:ph type="body" idx="1"/>
          </p:nvPr>
        </p:nvSpPr>
        <p:spPr>
          <a:xfrm>
            <a:off x="309800" y="1412877"/>
            <a:ext cx="8528209" cy="4351337"/>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3"/>
            <a:endParaRPr lang="en-US" dirty="0"/>
          </a:p>
        </p:txBody>
      </p:sp>
      <p:pic>
        <p:nvPicPr>
          <p:cNvPr id="12" name="Picture 11" descr="SPADE.png"/>
          <p:cNvPicPr>
            <a:picLocks noChangeAspect="1"/>
          </p:cNvPicPr>
          <p:nvPr/>
        </p:nvPicPr>
        <p:blipFill>
          <a:blip r:embed="rId6" cstate="print"/>
          <a:stretch>
            <a:fillRect/>
          </a:stretch>
        </p:blipFill>
        <p:spPr>
          <a:xfrm>
            <a:off x="8465783" y="203647"/>
            <a:ext cx="420168" cy="420241"/>
          </a:xfrm>
          <a:prstGeom prst="rect">
            <a:avLst/>
          </a:prstGeom>
        </p:spPr>
      </p:pic>
      <p:sp>
        <p:nvSpPr>
          <p:cNvPr id="10" name="Retângulo 43">
            <a:extLst>
              <a:ext uri="{FF2B5EF4-FFF2-40B4-BE49-F238E27FC236}">
                <a16:creationId xmlns:a16="http://schemas.microsoft.com/office/drawing/2014/main" id="{25FC8637-25BD-4C09-AF25-56B4243DAB3D}"/>
              </a:ext>
            </a:extLst>
          </p:cNvPr>
          <p:cNvSpPr/>
          <p:nvPr/>
        </p:nvSpPr>
        <p:spPr>
          <a:xfrm>
            <a:off x="8658858" y="6555758"/>
            <a:ext cx="360933"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sp>
        <p:nvSpPr>
          <p:cNvPr id="11" name="Retângulo 43">
            <a:extLst>
              <a:ext uri="{FF2B5EF4-FFF2-40B4-BE49-F238E27FC236}">
                <a16:creationId xmlns:a16="http://schemas.microsoft.com/office/drawing/2014/main" id="{834ADCB4-BFB1-450D-8F6D-64217F4CD92C}"/>
              </a:ext>
            </a:extLst>
          </p:cNvPr>
          <p:cNvSpPr/>
          <p:nvPr/>
        </p:nvSpPr>
        <p:spPr>
          <a:xfrm>
            <a:off x="324266" y="6555758"/>
            <a:ext cx="1667764"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8 Capgemini. All rights reserved.</a:t>
            </a:r>
          </a:p>
        </p:txBody>
      </p:sp>
    </p:spTree>
    <p:extLst>
      <p:ext uri="{BB962C8B-B14F-4D97-AF65-F5344CB8AC3E}">
        <p14:creationId xmlns:p14="http://schemas.microsoft.com/office/powerpoint/2010/main" val="19961934"/>
      </p:ext>
    </p:extLst>
  </p:cSld>
  <p:clrMap bg1="lt1" tx1="dk1" bg2="lt2" tx2="dk2" accent1="accent1" accent2="accent2" accent3="accent3" accent4="accent4" accent5="accent5" accent6="accent6" hlink="hlink" folHlink="folHlink"/>
  <p:sldLayoutIdLst>
    <p:sldLayoutId id="2147483709" r:id="rId1"/>
    <p:sldLayoutId id="2147483710" r:id="rId2"/>
    <p:sldLayoutId id="2147483711" r:id="rId3"/>
    <p:sldLayoutId id="2147483712" r:id="rId4"/>
  </p:sldLayoutIdLst>
  <p:txStyles>
    <p:titleStyle>
      <a:lvl1pPr algn="l" defTabSz="914217" rtl="0" eaLnBrk="1" latinLnBrk="0" hangingPunct="1">
        <a:lnSpc>
          <a:spcPct val="90000"/>
        </a:lnSpc>
        <a:spcBef>
          <a:spcPct val="0"/>
        </a:spcBef>
        <a:buNone/>
        <a:defRPr lang="pt-PT" sz="2599" kern="1200">
          <a:solidFill>
            <a:schemeClr val="accent1"/>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217"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16" indent="-228554" algn="l" defTabSz="914217" rtl="0" eaLnBrk="1" latinLnBrk="0" hangingPunct="1">
        <a:lnSpc>
          <a:spcPts val="18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109" indent="-228554" algn="l" defTabSz="914217"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425" indent="-233316" algn="l" defTabSz="914217" rtl="0" eaLnBrk="1" latinLnBrk="0" hangingPunct="1">
        <a:lnSpc>
          <a:spcPts val="14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6989" indent="-228554" algn="l" defTabSz="914217"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097"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206"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314"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423"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217" rtl="0" eaLnBrk="1" latinLnBrk="0" hangingPunct="1">
        <a:defRPr sz="1800" kern="1200">
          <a:solidFill>
            <a:schemeClr val="tx1"/>
          </a:solidFill>
          <a:latin typeface="+mn-lt"/>
          <a:ea typeface="+mn-ea"/>
          <a:cs typeface="+mn-cs"/>
        </a:defRPr>
      </a:lvl1pPr>
      <a:lvl2pPr marL="457109" algn="l" defTabSz="914217" rtl="0" eaLnBrk="1" latinLnBrk="0" hangingPunct="1">
        <a:defRPr sz="1800" kern="1200">
          <a:solidFill>
            <a:schemeClr val="tx1"/>
          </a:solidFill>
          <a:latin typeface="+mn-lt"/>
          <a:ea typeface="+mn-ea"/>
          <a:cs typeface="+mn-cs"/>
        </a:defRPr>
      </a:lvl2pPr>
      <a:lvl3pPr marL="914217" algn="l" defTabSz="914217" rtl="0" eaLnBrk="1" latinLnBrk="0" hangingPunct="1">
        <a:defRPr sz="1800" kern="1200">
          <a:solidFill>
            <a:schemeClr val="tx1"/>
          </a:solidFill>
          <a:latin typeface="+mn-lt"/>
          <a:ea typeface="+mn-ea"/>
          <a:cs typeface="+mn-cs"/>
        </a:defRPr>
      </a:lvl3pPr>
      <a:lvl4pPr marL="1371326" algn="l" defTabSz="914217" rtl="0" eaLnBrk="1" latinLnBrk="0" hangingPunct="1">
        <a:defRPr sz="1800" kern="1200">
          <a:solidFill>
            <a:schemeClr val="tx1"/>
          </a:solidFill>
          <a:latin typeface="+mn-lt"/>
          <a:ea typeface="+mn-ea"/>
          <a:cs typeface="+mn-cs"/>
        </a:defRPr>
      </a:lvl4pPr>
      <a:lvl5pPr marL="1828434" algn="l" defTabSz="914217" rtl="0" eaLnBrk="1" latinLnBrk="0" hangingPunct="1">
        <a:defRPr sz="1800" kern="1200">
          <a:solidFill>
            <a:schemeClr val="tx1"/>
          </a:solidFill>
          <a:latin typeface="+mn-lt"/>
          <a:ea typeface="+mn-ea"/>
          <a:cs typeface="+mn-cs"/>
        </a:defRPr>
      </a:lvl5pPr>
      <a:lvl6pPr marL="2285543" algn="l" defTabSz="914217" rtl="0" eaLnBrk="1" latinLnBrk="0" hangingPunct="1">
        <a:defRPr sz="1800" kern="1200">
          <a:solidFill>
            <a:schemeClr val="tx1"/>
          </a:solidFill>
          <a:latin typeface="+mn-lt"/>
          <a:ea typeface="+mn-ea"/>
          <a:cs typeface="+mn-cs"/>
        </a:defRPr>
      </a:lvl6pPr>
      <a:lvl7pPr marL="2742651" algn="l" defTabSz="914217" rtl="0" eaLnBrk="1" latinLnBrk="0" hangingPunct="1">
        <a:defRPr sz="1800" kern="1200">
          <a:solidFill>
            <a:schemeClr val="tx1"/>
          </a:solidFill>
          <a:latin typeface="+mn-lt"/>
          <a:ea typeface="+mn-ea"/>
          <a:cs typeface="+mn-cs"/>
        </a:defRPr>
      </a:lvl7pPr>
      <a:lvl8pPr marL="3199760" algn="l" defTabSz="914217" rtl="0" eaLnBrk="1" latinLnBrk="0" hangingPunct="1">
        <a:defRPr sz="1800" kern="1200">
          <a:solidFill>
            <a:schemeClr val="tx1"/>
          </a:solidFill>
          <a:latin typeface="+mn-lt"/>
          <a:ea typeface="+mn-ea"/>
          <a:cs typeface="+mn-cs"/>
        </a:defRPr>
      </a:lvl8pPr>
      <a:lvl9pPr marL="3656868" algn="l" defTabSz="91421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55">
          <p15:clr>
            <a:srgbClr val="F26B43"/>
          </p15:clr>
        </p15:guide>
        <p15:guide id="3" pos="7423">
          <p15:clr>
            <a:srgbClr val="F26B43"/>
          </p15:clr>
        </p15:guide>
        <p15:guide id="4" pos="257">
          <p15:clr>
            <a:srgbClr val="F26B43"/>
          </p15:clr>
        </p15:guide>
        <p15:guide id="5" orient="horz" pos="4065">
          <p15:clr>
            <a:srgbClr val="F26B43"/>
          </p15:clr>
        </p15:guide>
        <p15:guide id="6" orient="horz" pos="799">
          <p15:clr>
            <a:srgbClr val="F26B43"/>
          </p15:clr>
        </p15:guide>
        <p15:guide id="7" orient="horz" pos="890">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3" name="Text Placeholder 2">
            <a:extLst>
              <a:ext uri="{FF2B5EF4-FFF2-40B4-BE49-F238E27FC236}">
                <a16:creationId xmlns:a16="http://schemas.microsoft.com/office/drawing/2014/main" id="{AF310831-D03E-404B-934F-73B268225B7E}"/>
              </a:ext>
            </a:extLst>
          </p:cNvPr>
          <p:cNvSpPr>
            <a:spLocks noGrp="1"/>
          </p:cNvSpPr>
          <p:nvPr>
            <p:ph type="body" idx="1"/>
          </p:nvPr>
        </p:nvSpPr>
        <p:spPr>
          <a:xfrm>
            <a:off x="309800" y="1412877"/>
            <a:ext cx="8528209" cy="5040313"/>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30" name="Title Placeholder 1">
            <a:extLst>
              <a:ext uri="{FF2B5EF4-FFF2-40B4-BE49-F238E27FC236}">
                <a16:creationId xmlns:a16="http://schemas.microsoft.com/office/drawing/2014/main" id="{366C6B93-5A4F-43B7-84C4-C42EC870AB53}"/>
              </a:ext>
            </a:extLst>
          </p:cNvPr>
          <p:cNvSpPr>
            <a:spLocks noGrp="1"/>
          </p:cNvSpPr>
          <p:nvPr>
            <p:ph type="title"/>
          </p:nvPr>
        </p:nvSpPr>
        <p:spPr>
          <a:xfrm>
            <a:off x="309802" y="260648"/>
            <a:ext cx="8312649" cy="859536"/>
          </a:xfrm>
          <a:prstGeom prst="rect">
            <a:avLst/>
          </a:prstGeom>
        </p:spPr>
        <p:txBody>
          <a:bodyPr vert="horz" lIns="0" tIns="0" rIns="0" bIns="0" rtlCol="0" anchor="t">
            <a:normAutofit/>
          </a:bodyPr>
          <a:lstStyle/>
          <a:p>
            <a:pPr lvl="0">
              <a:lnSpc>
                <a:spcPts val="2999"/>
              </a:lnSpc>
            </a:pPr>
            <a:r>
              <a:rPr lang="en-US"/>
              <a:t>Click to edit Master title style</a:t>
            </a:r>
            <a:endParaRPr lang="pt-PT" dirty="0"/>
          </a:p>
        </p:txBody>
      </p:sp>
      <p:pic>
        <p:nvPicPr>
          <p:cNvPr id="31" name="Picture 30" descr="SPADE.png"/>
          <p:cNvPicPr>
            <a:picLocks noChangeAspect="1"/>
          </p:cNvPicPr>
          <p:nvPr/>
        </p:nvPicPr>
        <p:blipFill>
          <a:blip r:embed="rId11" cstate="print"/>
          <a:stretch>
            <a:fillRect/>
          </a:stretch>
        </p:blipFill>
        <p:spPr>
          <a:xfrm>
            <a:off x="8465783" y="203647"/>
            <a:ext cx="420168" cy="420241"/>
          </a:xfrm>
          <a:prstGeom prst="rect">
            <a:avLst/>
          </a:prstGeom>
        </p:spPr>
      </p:pic>
      <p:sp>
        <p:nvSpPr>
          <p:cNvPr id="33" name="Retângulo 43">
            <a:extLst>
              <a:ext uri="{FF2B5EF4-FFF2-40B4-BE49-F238E27FC236}">
                <a16:creationId xmlns:a16="http://schemas.microsoft.com/office/drawing/2014/main" id="{25FC8637-25BD-4C09-AF25-56B4243DAB3D}"/>
              </a:ext>
            </a:extLst>
          </p:cNvPr>
          <p:cNvSpPr/>
          <p:nvPr/>
        </p:nvSpPr>
        <p:spPr>
          <a:xfrm>
            <a:off x="8658858" y="6555758"/>
            <a:ext cx="360933"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sp>
        <p:nvSpPr>
          <p:cNvPr id="34" name="Retângulo 43">
            <a:extLst>
              <a:ext uri="{FF2B5EF4-FFF2-40B4-BE49-F238E27FC236}">
                <a16:creationId xmlns:a16="http://schemas.microsoft.com/office/drawing/2014/main" id="{834ADCB4-BFB1-450D-8F6D-64217F4CD92C}"/>
              </a:ext>
            </a:extLst>
          </p:cNvPr>
          <p:cNvSpPr/>
          <p:nvPr/>
        </p:nvSpPr>
        <p:spPr>
          <a:xfrm>
            <a:off x="324266" y="6555758"/>
            <a:ext cx="1667764"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8 Capgemini. All rights reserved.</a:t>
            </a:r>
          </a:p>
        </p:txBody>
      </p:sp>
    </p:spTree>
    <p:extLst>
      <p:ext uri="{BB962C8B-B14F-4D97-AF65-F5344CB8AC3E}">
        <p14:creationId xmlns:p14="http://schemas.microsoft.com/office/powerpoint/2010/main" val="2226334259"/>
      </p:ext>
    </p:extLst>
  </p:cSld>
  <p:clrMap bg1="lt1" tx1="dk1" bg2="lt2" tx2="dk2" accent1="accent1" accent2="accent2" accent3="accent3" accent4="accent4" accent5="accent5" accent6="accent6" hlink="hlink" folHlink="folHlink"/>
  <p:sldLayoutIdLst>
    <p:sldLayoutId id="2147483714" r:id="rId1"/>
    <p:sldLayoutId id="2147483715" r:id="rId2"/>
    <p:sldLayoutId id="2147483716" r:id="rId3"/>
    <p:sldLayoutId id="2147483717" r:id="rId4"/>
    <p:sldLayoutId id="2147483718" r:id="rId5"/>
    <p:sldLayoutId id="2147483719" r:id="rId6"/>
    <p:sldLayoutId id="2147483720" r:id="rId7"/>
    <p:sldLayoutId id="2147483721" r:id="rId8"/>
    <p:sldLayoutId id="2147483722" r:id="rId9"/>
  </p:sldLayoutIdLst>
  <p:txStyles>
    <p:titleStyle>
      <a:lvl1pPr algn="l" defTabSz="914217" rtl="0" eaLnBrk="1" latinLnBrk="0" hangingPunct="1">
        <a:lnSpc>
          <a:spcPct val="90000"/>
        </a:lnSpc>
        <a:spcBef>
          <a:spcPct val="0"/>
        </a:spcBef>
        <a:buNone/>
        <a:defRPr lang="pt-PT" sz="2599" kern="1200">
          <a:solidFill>
            <a:schemeClr val="accent1"/>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217"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16" indent="-228554" algn="l" defTabSz="914217" rtl="0" eaLnBrk="1" latinLnBrk="0" hangingPunct="1">
        <a:lnSpc>
          <a:spcPts val="2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109" indent="-223793" algn="l" defTabSz="914217"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425" indent="-233316" algn="l" defTabSz="914217" rtl="0" eaLnBrk="1" latinLnBrk="0" hangingPunct="1">
        <a:lnSpc>
          <a:spcPct val="9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6989" indent="-228554" algn="l" defTabSz="914217"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097"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206"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314"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423"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217" rtl="0" eaLnBrk="1" latinLnBrk="0" hangingPunct="1">
        <a:defRPr sz="1800" kern="1200">
          <a:solidFill>
            <a:schemeClr val="tx1"/>
          </a:solidFill>
          <a:latin typeface="+mn-lt"/>
          <a:ea typeface="+mn-ea"/>
          <a:cs typeface="+mn-cs"/>
        </a:defRPr>
      </a:lvl1pPr>
      <a:lvl2pPr marL="457109" algn="l" defTabSz="914217" rtl="0" eaLnBrk="1" latinLnBrk="0" hangingPunct="1">
        <a:defRPr sz="1800" kern="1200">
          <a:solidFill>
            <a:schemeClr val="tx1"/>
          </a:solidFill>
          <a:latin typeface="+mn-lt"/>
          <a:ea typeface="+mn-ea"/>
          <a:cs typeface="+mn-cs"/>
        </a:defRPr>
      </a:lvl2pPr>
      <a:lvl3pPr marL="914217" algn="l" defTabSz="914217" rtl="0" eaLnBrk="1" latinLnBrk="0" hangingPunct="1">
        <a:defRPr sz="1800" kern="1200">
          <a:solidFill>
            <a:schemeClr val="tx1"/>
          </a:solidFill>
          <a:latin typeface="+mn-lt"/>
          <a:ea typeface="+mn-ea"/>
          <a:cs typeface="+mn-cs"/>
        </a:defRPr>
      </a:lvl3pPr>
      <a:lvl4pPr marL="1371326" algn="l" defTabSz="914217" rtl="0" eaLnBrk="1" latinLnBrk="0" hangingPunct="1">
        <a:defRPr sz="1800" kern="1200">
          <a:solidFill>
            <a:schemeClr val="tx1"/>
          </a:solidFill>
          <a:latin typeface="+mn-lt"/>
          <a:ea typeface="+mn-ea"/>
          <a:cs typeface="+mn-cs"/>
        </a:defRPr>
      </a:lvl4pPr>
      <a:lvl5pPr marL="1828434" algn="l" defTabSz="914217" rtl="0" eaLnBrk="1" latinLnBrk="0" hangingPunct="1">
        <a:defRPr sz="1800" kern="1200">
          <a:solidFill>
            <a:schemeClr val="tx1"/>
          </a:solidFill>
          <a:latin typeface="+mn-lt"/>
          <a:ea typeface="+mn-ea"/>
          <a:cs typeface="+mn-cs"/>
        </a:defRPr>
      </a:lvl5pPr>
      <a:lvl6pPr marL="2285543" algn="l" defTabSz="914217" rtl="0" eaLnBrk="1" latinLnBrk="0" hangingPunct="1">
        <a:defRPr sz="1800" kern="1200">
          <a:solidFill>
            <a:schemeClr val="tx1"/>
          </a:solidFill>
          <a:latin typeface="+mn-lt"/>
          <a:ea typeface="+mn-ea"/>
          <a:cs typeface="+mn-cs"/>
        </a:defRPr>
      </a:lvl6pPr>
      <a:lvl7pPr marL="2742651" algn="l" defTabSz="914217" rtl="0" eaLnBrk="1" latinLnBrk="0" hangingPunct="1">
        <a:defRPr sz="1800" kern="1200">
          <a:solidFill>
            <a:schemeClr val="tx1"/>
          </a:solidFill>
          <a:latin typeface="+mn-lt"/>
          <a:ea typeface="+mn-ea"/>
          <a:cs typeface="+mn-cs"/>
        </a:defRPr>
      </a:lvl7pPr>
      <a:lvl8pPr marL="3199760" algn="l" defTabSz="914217" rtl="0" eaLnBrk="1" latinLnBrk="0" hangingPunct="1">
        <a:defRPr sz="1800" kern="1200">
          <a:solidFill>
            <a:schemeClr val="tx1"/>
          </a:solidFill>
          <a:latin typeface="+mn-lt"/>
          <a:ea typeface="+mn-ea"/>
          <a:cs typeface="+mn-cs"/>
        </a:defRPr>
      </a:lvl8pPr>
      <a:lvl9pPr marL="3656868" algn="l" defTabSz="91421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55">
          <p15:clr>
            <a:srgbClr val="F26B43"/>
          </p15:clr>
        </p15:guide>
        <p15:guide id="2" pos="7423">
          <p15:clr>
            <a:srgbClr val="F26B43"/>
          </p15:clr>
        </p15:guide>
        <p15:guide id="3" pos="257">
          <p15:clr>
            <a:srgbClr val="F26B43"/>
          </p15:clr>
        </p15:guide>
        <p15:guide id="4" orient="horz" pos="4065">
          <p15:clr>
            <a:srgbClr val="F26B43"/>
          </p15:clr>
        </p15:guide>
        <p15:guide id="5" orient="horz" pos="799">
          <p15:clr>
            <a:srgbClr val="F26B43"/>
          </p15:clr>
        </p15:guide>
        <p15:guide id="6" orient="horz" pos="890">
          <p15:clr>
            <a:srgbClr val="F26B43"/>
          </p15:clr>
        </p15:guide>
        <p15:guide id="7" pos="3840">
          <p15:clr>
            <a:srgbClr val="F26B43"/>
          </p15:clr>
        </p15:guide>
        <p15:guide id="8" pos="3749">
          <p15:clr>
            <a:srgbClr val="F26B43"/>
          </p15:clr>
        </p15:guide>
        <p15:guide id="9" pos="393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5.xml"/></Relationships>
</file>

<file path=ppt/slides/_rels/slide11.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11.xml"/><Relationship Id="rId1" Type="http://schemas.openxmlformats.org/officeDocument/2006/relationships/slideLayout" Target="../slideLayouts/slideLayout27.xml"/><Relationship Id="rId4" Type="http://schemas.openxmlformats.org/officeDocument/2006/relationships/image" Target="../media/image23.png"/></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6.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5.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5.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5.xml"/></Relationships>
</file>

<file path=ppt/slides/_rels/slide16.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16.xml"/><Relationship Id="rId1" Type="http://schemas.openxmlformats.org/officeDocument/2006/relationships/slideLayout" Target="../slideLayouts/slideLayout25.xml"/></Relationships>
</file>

<file path=ppt/slides/_rels/slide17.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17.xml"/><Relationship Id="rId1" Type="http://schemas.openxmlformats.org/officeDocument/2006/relationships/slideLayout" Target="../slideLayouts/slideLayout25.xml"/></Relationships>
</file>

<file path=ppt/slides/_rels/slide18.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18.xml"/><Relationship Id="rId1" Type="http://schemas.openxmlformats.org/officeDocument/2006/relationships/slideLayout" Target="../slideLayouts/slideLayout25.xml"/></Relationships>
</file>

<file path=ppt/slides/_rels/slide19.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19.xml"/><Relationship Id="rId1" Type="http://schemas.openxmlformats.org/officeDocument/2006/relationships/slideLayout" Target="../slideLayouts/slideLayout14.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4.xml"/></Relationships>
</file>

<file path=ppt/slides/_rels/slide20.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20.xml"/><Relationship Id="rId1" Type="http://schemas.openxmlformats.org/officeDocument/2006/relationships/slideLayout" Target="../slideLayouts/slideLayout25.xml"/></Relationships>
</file>

<file path=ppt/slides/_rels/slide21.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21.xml"/><Relationship Id="rId1" Type="http://schemas.openxmlformats.org/officeDocument/2006/relationships/slideLayout" Target="../slideLayouts/slideLayout27.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25.xml"/></Relationships>
</file>

<file path=ppt/slides/_rels/slide23.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23.xml"/><Relationship Id="rId1" Type="http://schemas.openxmlformats.org/officeDocument/2006/relationships/slideLayout" Target="../slideLayouts/slideLayout25.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25.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25.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26.xml"/></Relationships>
</file>

<file path=ppt/slides/_rels/slide27.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27.xml"/><Relationship Id="rId1" Type="http://schemas.openxmlformats.org/officeDocument/2006/relationships/slideLayout" Target="../slideLayouts/slideLayout30.xml"/><Relationship Id="rId4" Type="http://schemas.openxmlformats.org/officeDocument/2006/relationships/image" Target="../media/image31.png"/></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25.xml"/></Relationships>
</file>

<file path=ppt/slides/_rels/slide29.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29.xml"/><Relationship Id="rId1" Type="http://schemas.openxmlformats.org/officeDocument/2006/relationships/slideLayout" Target="../slideLayouts/slideLayout25.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5.xml"/></Relationships>
</file>

<file path=ppt/slides/_rels/slide30.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30.xml"/><Relationship Id="rId1" Type="http://schemas.openxmlformats.org/officeDocument/2006/relationships/slideLayout" Target="../slideLayouts/slideLayout25.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26.xml"/></Relationships>
</file>

<file path=ppt/slides/_rels/slide32.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32.xml"/><Relationship Id="rId1" Type="http://schemas.openxmlformats.org/officeDocument/2006/relationships/slideLayout" Target="../slideLayouts/slideLayout25.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26.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25.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25.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25.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26.xml"/></Relationships>
</file>

<file path=ppt/slides/_rels/slide38.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38.xml"/><Relationship Id="rId1" Type="http://schemas.openxmlformats.org/officeDocument/2006/relationships/slideLayout" Target="../slideLayouts/slideLayout25.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25.xml"/></Relationships>
</file>

<file path=ppt/slides/_rels/slide4.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4.xml"/><Relationship Id="rId1" Type="http://schemas.openxmlformats.org/officeDocument/2006/relationships/slideLayout" Target="../slideLayouts/slideLayout25.xml"/></Relationships>
</file>

<file path=ppt/slides/_rels/slide40.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40.xml"/><Relationship Id="rId1" Type="http://schemas.openxmlformats.org/officeDocument/2006/relationships/slideLayout" Target="../slideLayouts/slideLayout25.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25.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25.xml"/></Relationships>
</file>

<file path=ppt/slides/_rels/slide43.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43.xml"/><Relationship Id="rId1" Type="http://schemas.openxmlformats.org/officeDocument/2006/relationships/slideLayout" Target="../slideLayouts/slideLayout25.xml"/></Relationships>
</file>

<file path=ppt/slides/_rels/slide44.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44.xml"/><Relationship Id="rId1" Type="http://schemas.openxmlformats.org/officeDocument/2006/relationships/slideLayout" Target="../slideLayouts/slideLayout25.xml"/></Relationships>
</file>

<file path=ppt/slides/_rels/slide45.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45.xml"/><Relationship Id="rId1" Type="http://schemas.openxmlformats.org/officeDocument/2006/relationships/slideLayout" Target="../slideLayouts/slideLayout25.xml"/></Relationships>
</file>

<file path=ppt/slides/_rels/slide46.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46.xml"/><Relationship Id="rId1" Type="http://schemas.openxmlformats.org/officeDocument/2006/relationships/slideLayout" Target="../slideLayouts/slideLayout25.xml"/></Relationships>
</file>

<file path=ppt/slides/_rels/slide47.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47.xml"/><Relationship Id="rId1" Type="http://schemas.openxmlformats.org/officeDocument/2006/relationships/slideLayout" Target="../slideLayouts/slideLayout25.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28.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29.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5.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5.xml"/></Relationships>
</file>

<file path=ppt/slides/_rels/slide7.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7.xml"/><Relationship Id="rId1" Type="http://schemas.openxmlformats.org/officeDocument/2006/relationships/slideLayout" Target="../slideLayouts/slideLayout25.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6.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Subtitle 11"/>
          <p:cNvSpPr>
            <a:spLocks noGrp="1"/>
          </p:cNvSpPr>
          <p:nvPr>
            <p:ph type="body" sz="quarter" idx="10"/>
          </p:nvPr>
        </p:nvSpPr>
        <p:spPr/>
        <p:txBody>
          <a:bodyPr>
            <a:normAutofit/>
          </a:bodyPr>
          <a:lstStyle/>
          <a:p>
            <a:r>
              <a:rPr lang="en-US" sz="2000" dirty="0">
                <a:solidFill>
                  <a:schemeClr val="tx1"/>
                </a:solidFill>
              </a:rPr>
              <a:t>Lesson 10: Reporting Events</a:t>
            </a:r>
          </a:p>
        </p:txBody>
      </p:sp>
      <p:sp>
        <p:nvSpPr>
          <p:cNvPr id="11" name="Title 10"/>
          <p:cNvSpPr>
            <a:spLocks noGrp="1"/>
          </p:cNvSpPr>
          <p:nvPr>
            <p:ph type="ctrTitle" idx="4294967295"/>
          </p:nvPr>
        </p:nvSpPr>
        <p:spPr>
          <a:xfrm>
            <a:off x="0" y="2960688"/>
            <a:ext cx="5033963" cy="1096962"/>
          </a:xfrm>
        </p:spPr>
        <p:txBody>
          <a:bodyPr>
            <a:normAutofit/>
          </a:bodyPr>
          <a:lstStyle/>
          <a:p>
            <a:r>
              <a:rPr lang="en-US" sz="3600" dirty="0"/>
              <a:t>ABAP Part I</a:t>
            </a: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5" name="Rectangle 2"/>
          <p:cNvSpPr>
            <a:spLocks noGrp="1" noChangeArrowheads="1"/>
          </p:cNvSpPr>
          <p:nvPr>
            <p:ph type="title"/>
          </p:nvPr>
        </p:nvSpPr>
        <p:spPr/>
        <p:txBody>
          <a:bodyPr/>
          <a:lstStyle/>
          <a:p>
            <a:r>
              <a:rPr lang="en-US" dirty="0"/>
              <a:t>At Selection-Screen </a:t>
            </a:r>
            <a:endParaRPr lang="en-US" altLang="en-US" dirty="0"/>
          </a:p>
        </p:txBody>
      </p:sp>
      <p:sp>
        <p:nvSpPr>
          <p:cNvPr id="38914" name="Rectangle 3"/>
          <p:cNvSpPr>
            <a:spLocks noGrp="1" noChangeArrowheads="1"/>
          </p:cNvSpPr>
          <p:nvPr>
            <p:ph idx="1"/>
          </p:nvPr>
        </p:nvSpPr>
        <p:spPr/>
        <p:txBody>
          <a:bodyPr/>
          <a:lstStyle/>
          <a:p>
            <a:pPr>
              <a:defRPr/>
            </a:pPr>
            <a:r>
              <a:rPr lang="en-US" dirty="0"/>
              <a:t>Processing block is started after the user has specified all the criteria in the selection screen.</a:t>
            </a:r>
          </a:p>
          <a:p>
            <a:pPr marL="231775" indent="-231775" algn="just" defTabSz="457200">
              <a:lnSpc>
                <a:spcPct val="100000"/>
              </a:lnSpc>
              <a:spcBef>
                <a:spcPct val="20000"/>
              </a:spcBef>
              <a:spcAft>
                <a:spcPts val="0"/>
              </a:spcAft>
              <a:buClrTx/>
              <a:buFont typeface="Arial"/>
              <a:buChar char="•"/>
              <a:defRPr/>
            </a:pPr>
            <a:endParaRPr lang="en-US" sz="1800" dirty="0">
              <a:solidFill>
                <a:schemeClr val="tx1"/>
              </a:solidFill>
            </a:endParaRPr>
          </a:p>
          <a:p>
            <a:pPr lvl="0">
              <a:defRPr/>
            </a:pPr>
            <a:r>
              <a:rPr lang="en-US" dirty="0"/>
              <a:t>Selection Screen Processing: </a:t>
            </a:r>
          </a:p>
          <a:p>
            <a:pPr lvl="1">
              <a:defRPr/>
            </a:pPr>
            <a:r>
              <a:rPr lang="en-US" dirty="0"/>
              <a:t>Started after the INITIALIZATION event triggered.</a:t>
            </a:r>
          </a:p>
          <a:p>
            <a:pPr lvl="1">
              <a:defRPr/>
            </a:pPr>
            <a:r>
              <a:rPr lang="en-US" dirty="0"/>
              <a:t>Other events may be triggered for fields or for F4 help, depending upon user action on the selection screen</a:t>
            </a:r>
            <a:r>
              <a:rPr lang="en-US" dirty="0">
                <a:solidFill>
                  <a:schemeClr val="tx1"/>
                </a:solidFill>
              </a:rPr>
              <a:t>.</a:t>
            </a:r>
          </a:p>
          <a:p>
            <a:pPr marL="166189" lvl="1" indent="-166189">
              <a:buClr>
                <a:schemeClr val="accent5"/>
              </a:buClr>
              <a:defRPr/>
            </a:pPr>
            <a:endParaRPr lang="en-US" sz="2200" dirty="0"/>
          </a:p>
          <a:p>
            <a:pPr>
              <a:defRPr/>
            </a:pPr>
            <a:r>
              <a:rPr lang="en-US" dirty="0"/>
              <a:t>This event can also be called on a particular parameter or select-option using At Selection-Screen on &lt;parameter or select-option&gt;.</a:t>
            </a:r>
          </a:p>
          <a:p>
            <a:pPr marL="231775" lvl="0" indent="-231775" algn="just" defTabSz="457200">
              <a:lnSpc>
                <a:spcPct val="100000"/>
              </a:lnSpc>
              <a:spcBef>
                <a:spcPct val="20000"/>
              </a:spcBef>
              <a:spcAft>
                <a:spcPts val="0"/>
              </a:spcAft>
              <a:buClrTx/>
              <a:buFont typeface="Arial"/>
              <a:buChar char="•"/>
              <a:defRPr/>
            </a:pPr>
            <a:endParaRPr lang="en-US" sz="1800" dirty="0">
              <a:solidFill>
                <a:schemeClr val="tx1"/>
              </a:solidFill>
              <a:cs typeface="Arial"/>
            </a:endParaRPr>
          </a:p>
          <a:p>
            <a:pPr lvl="0">
              <a:defRPr/>
            </a:pPr>
            <a:r>
              <a:rPr lang="en-US" dirty="0"/>
              <a:t>To modify the Selection Screen elements before display, AT SELECTION-SCREEN OUTPUT event  is used.</a:t>
            </a:r>
          </a:p>
          <a:p>
            <a:endParaRPr lang="en-US" sz="1800" dirty="0">
              <a:solidFill>
                <a:schemeClr val="tx1"/>
              </a:solidFill>
            </a:endParaRPr>
          </a:p>
          <a:p>
            <a:pPr eaLnBrk="1" hangingPunct="1">
              <a:buFontTx/>
              <a:buNone/>
            </a:pPr>
            <a:endParaRPr lang="en-US" altLang="en-US" sz="1800" dirty="0">
              <a:solidFill>
                <a:schemeClr val="tx1"/>
              </a:solidFill>
            </a:endParaRPr>
          </a:p>
        </p:txBody>
      </p:sp>
    </p:spTree>
    <p:extLst>
      <p:ext uri="{BB962C8B-B14F-4D97-AF65-F5344CB8AC3E}">
        <p14:creationId xmlns:p14="http://schemas.microsoft.com/office/powerpoint/2010/main" val="266587522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5" name="Rectangle 2"/>
          <p:cNvSpPr>
            <a:spLocks noGrp="1" noChangeArrowheads="1"/>
          </p:cNvSpPr>
          <p:nvPr>
            <p:ph type="title"/>
          </p:nvPr>
        </p:nvSpPr>
        <p:spPr>
          <a:xfrm>
            <a:off x="285750" y="63500"/>
            <a:ext cx="8629650" cy="857250"/>
          </a:xfrm>
        </p:spPr>
        <p:txBody>
          <a:bodyPr/>
          <a:lstStyle/>
          <a:p>
            <a:r>
              <a:rPr lang="en-US" dirty="0"/>
              <a:t>At Selection-Screen </a:t>
            </a:r>
            <a:endParaRPr lang="en-US" altLang="en-US" dirty="0"/>
          </a:p>
        </p:txBody>
      </p:sp>
      <p:sp>
        <p:nvSpPr>
          <p:cNvPr id="38914" name="Rectangle 3"/>
          <p:cNvSpPr>
            <a:spLocks noGrp="1" noChangeArrowheads="1"/>
          </p:cNvSpPr>
          <p:nvPr>
            <p:ph idx="1"/>
          </p:nvPr>
        </p:nvSpPr>
        <p:spPr>
          <a:xfrm>
            <a:off x="304800" y="1214438"/>
            <a:ext cx="8229600" cy="4892675"/>
          </a:xfrm>
        </p:spPr>
        <p:txBody>
          <a:bodyPr/>
          <a:lstStyle/>
          <a:p>
            <a:endParaRPr lang="en-US" sz="1800" dirty="0">
              <a:solidFill>
                <a:schemeClr val="tx1"/>
              </a:solidFill>
            </a:endParaRPr>
          </a:p>
          <a:p>
            <a:pPr eaLnBrk="1" hangingPunct="1">
              <a:buFontTx/>
              <a:buNone/>
            </a:pPr>
            <a:endParaRPr lang="en-US" altLang="en-US" sz="1800" dirty="0">
              <a:solidFill>
                <a:schemeClr val="tx1"/>
              </a:solidFill>
            </a:endParaRPr>
          </a:p>
        </p:txBody>
      </p:sp>
      <p:pic>
        <p:nvPicPr>
          <p:cNvPr id="1126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1918154"/>
            <a:ext cx="4339771" cy="22669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1267"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238168" y="1219201"/>
            <a:ext cx="4804230" cy="502194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 name="Footer Placeholder 1"/>
          <p:cNvSpPr>
            <a:spLocks noGrp="1"/>
          </p:cNvSpPr>
          <p:nvPr>
            <p:ph type="ftr" sz="quarter" idx="11"/>
          </p:nvPr>
        </p:nvSpPr>
        <p:spPr/>
        <p:txBody>
          <a:bodyPr/>
          <a:lstStyle/>
          <a:p>
            <a:r>
              <a:rPr lang="en-US"/>
              <a:t>Capgemini Public</a:t>
            </a:r>
          </a:p>
        </p:txBody>
      </p:sp>
    </p:spTree>
    <p:extLst>
      <p:ext uri="{BB962C8B-B14F-4D97-AF65-F5344CB8AC3E}">
        <p14:creationId xmlns:p14="http://schemas.microsoft.com/office/powerpoint/2010/main" val="237939014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5" name="Rectangle 2"/>
          <p:cNvSpPr>
            <a:spLocks noGrp="1" noChangeArrowheads="1"/>
          </p:cNvSpPr>
          <p:nvPr>
            <p:ph type="title"/>
          </p:nvPr>
        </p:nvSpPr>
        <p:spPr/>
        <p:txBody>
          <a:bodyPr/>
          <a:lstStyle/>
          <a:p>
            <a:pPr eaLnBrk="1" hangingPunct="1"/>
            <a:r>
              <a:rPr lang="en-US" altLang="en-US" dirty="0"/>
              <a:t>Demo: At Selection Screen Event</a:t>
            </a:r>
          </a:p>
        </p:txBody>
      </p:sp>
      <p:sp>
        <p:nvSpPr>
          <p:cNvPr id="3" name="Content Placeholder 2"/>
          <p:cNvSpPr>
            <a:spLocks noGrp="1"/>
          </p:cNvSpPr>
          <p:nvPr>
            <p:ph idx="1"/>
          </p:nvPr>
        </p:nvSpPr>
        <p:spPr/>
        <p:txBody>
          <a:bodyPr/>
          <a:lstStyle/>
          <a:p>
            <a:endParaRPr lang="en-US"/>
          </a:p>
        </p:txBody>
      </p:sp>
    </p:spTree>
    <p:extLst>
      <p:ext uri="{BB962C8B-B14F-4D97-AF65-F5344CB8AC3E}">
        <p14:creationId xmlns:p14="http://schemas.microsoft.com/office/powerpoint/2010/main" val="192662045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5" name="Rectangle 2"/>
          <p:cNvSpPr>
            <a:spLocks noGrp="1" noChangeArrowheads="1"/>
          </p:cNvSpPr>
          <p:nvPr>
            <p:ph type="title"/>
          </p:nvPr>
        </p:nvSpPr>
        <p:spPr/>
        <p:txBody>
          <a:bodyPr/>
          <a:lstStyle/>
          <a:p>
            <a:r>
              <a:rPr lang="en-US" dirty="0"/>
              <a:t>Start-of-Selection </a:t>
            </a:r>
            <a:endParaRPr lang="en-US" altLang="en-US" dirty="0"/>
          </a:p>
        </p:txBody>
      </p:sp>
      <p:sp>
        <p:nvSpPr>
          <p:cNvPr id="38914" name="Rectangle 3"/>
          <p:cNvSpPr>
            <a:spLocks noGrp="1" noChangeArrowheads="1"/>
          </p:cNvSpPr>
          <p:nvPr>
            <p:ph idx="1"/>
          </p:nvPr>
        </p:nvSpPr>
        <p:spPr/>
        <p:txBody>
          <a:bodyPr/>
          <a:lstStyle/>
          <a:p>
            <a:pPr lvl="0">
              <a:defRPr/>
            </a:pPr>
            <a:r>
              <a:rPr lang="en-US" dirty="0"/>
              <a:t>The associated event is raised by the ABAP Runtime environment during an executable program.</a:t>
            </a:r>
          </a:p>
          <a:p>
            <a:pPr lvl="0">
              <a:defRPr/>
            </a:pPr>
            <a:r>
              <a:rPr lang="en-US" dirty="0"/>
              <a:t>It is used to prepare the required data for reading and also creating the list.</a:t>
            </a:r>
          </a:p>
          <a:p>
            <a:pPr>
              <a:defRPr/>
            </a:pPr>
            <a:r>
              <a:rPr lang="en-US" dirty="0"/>
              <a:t>Processing block is executed after processing the selection screen</a:t>
            </a:r>
          </a:p>
          <a:p>
            <a:pPr>
              <a:defRPr/>
            </a:pPr>
            <a:r>
              <a:rPr lang="en-US" dirty="0"/>
              <a:t>All the data is selected in this block. </a:t>
            </a:r>
          </a:p>
          <a:p>
            <a:pPr>
              <a:defRPr/>
            </a:pPr>
            <a:r>
              <a:rPr lang="en-US" dirty="0"/>
              <a:t>All the main processing on the data except for interactive reporting is handled in this block. </a:t>
            </a:r>
          </a:p>
          <a:p>
            <a:pPr lvl="0">
              <a:defRPr/>
            </a:pPr>
            <a:r>
              <a:rPr lang="en-US" dirty="0"/>
              <a:t>Event Occurs at:</a:t>
            </a:r>
          </a:p>
          <a:p>
            <a:pPr lvl="1">
              <a:defRPr/>
            </a:pPr>
            <a:r>
              <a:rPr lang="en-US" dirty="0"/>
              <a:t>After the selection screen has been processed.</a:t>
            </a:r>
          </a:p>
          <a:p>
            <a:pPr lvl="0">
              <a:defRPr/>
            </a:pPr>
            <a:r>
              <a:rPr lang="en-US" dirty="0"/>
              <a:t>Non-declarative statements which are written in between the report and first processing block are also processed in start of selection event.</a:t>
            </a:r>
          </a:p>
          <a:p>
            <a:pPr marL="231775" lvl="0" indent="-231775" defTabSz="457200">
              <a:lnSpc>
                <a:spcPct val="100000"/>
              </a:lnSpc>
              <a:spcBef>
                <a:spcPct val="20000"/>
              </a:spcBef>
              <a:spcAft>
                <a:spcPts val="0"/>
              </a:spcAft>
              <a:buClrTx/>
              <a:buFont typeface="Arial"/>
              <a:buChar char="•"/>
              <a:defRPr/>
            </a:pPr>
            <a:endParaRPr lang="en-US" sz="1800" dirty="0">
              <a:solidFill>
                <a:schemeClr val="tx1"/>
              </a:solidFill>
              <a:cs typeface="Arial"/>
            </a:endParaRPr>
          </a:p>
          <a:p>
            <a:endParaRPr lang="en-US" sz="1800" dirty="0">
              <a:solidFill>
                <a:schemeClr val="tx1"/>
              </a:solidFill>
            </a:endParaRPr>
          </a:p>
          <a:p>
            <a:pPr eaLnBrk="1" hangingPunct="1">
              <a:buFontTx/>
              <a:buNone/>
            </a:pPr>
            <a:endParaRPr lang="en-US" altLang="en-US" sz="1800" dirty="0">
              <a:solidFill>
                <a:schemeClr val="tx1"/>
              </a:solidFill>
            </a:endParaRPr>
          </a:p>
        </p:txBody>
      </p:sp>
    </p:spTree>
    <p:extLst>
      <p:ext uri="{BB962C8B-B14F-4D97-AF65-F5344CB8AC3E}">
        <p14:creationId xmlns:p14="http://schemas.microsoft.com/office/powerpoint/2010/main" val="412108029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5" name="Rectangle 2"/>
          <p:cNvSpPr>
            <a:spLocks noGrp="1" noChangeArrowheads="1"/>
          </p:cNvSpPr>
          <p:nvPr>
            <p:ph type="title"/>
          </p:nvPr>
        </p:nvSpPr>
        <p:spPr/>
        <p:txBody>
          <a:bodyPr/>
          <a:lstStyle/>
          <a:p>
            <a:r>
              <a:rPr lang="en-US" dirty="0"/>
              <a:t>End-of-Selection </a:t>
            </a:r>
            <a:endParaRPr lang="en-US" altLang="en-US" dirty="0"/>
          </a:p>
        </p:txBody>
      </p:sp>
      <p:sp>
        <p:nvSpPr>
          <p:cNvPr id="38914" name="Rectangle 3"/>
          <p:cNvSpPr>
            <a:spLocks noGrp="1" noChangeArrowheads="1"/>
          </p:cNvSpPr>
          <p:nvPr>
            <p:ph idx="1"/>
          </p:nvPr>
        </p:nvSpPr>
        <p:spPr/>
        <p:txBody>
          <a:bodyPr/>
          <a:lstStyle/>
          <a:p>
            <a:pPr lvl="0">
              <a:defRPr/>
            </a:pPr>
            <a:r>
              <a:rPr lang="en-US" dirty="0"/>
              <a:t>This is the last event which is processed by the system.</a:t>
            </a:r>
          </a:p>
          <a:p>
            <a:pPr lvl="0">
              <a:defRPr/>
            </a:pPr>
            <a:r>
              <a:rPr lang="en-US" dirty="0"/>
              <a:t>Data which is selected and has been processed is printed to the screen in this block</a:t>
            </a:r>
          </a:p>
          <a:p>
            <a:pPr lvl="0">
              <a:defRPr/>
            </a:pPr>
            <a:r>
              <a:rPr lang="en-US" dirty="0"/>
              <a:t>This event is triggered after all the data has been read from the program/logical database before the list processor is being started.</a:t>
            </a:r>
          </a:p>
          <a:p>
            <a:pPr lvl="0">
              <a:defRPr/>
            </a:pPr>
            <a:r>
              <a:rPr lang="en-US" dirty="0"/>
              <a:t>It is also used to process the data that has been stored in sequential datasets like internal tables or extracts by the program</a:t>
            </a:r>
          </a:p>
          <a:p>
            <a:pPr marL="231775" lvl="0" indent="-231775" defTabSz="457200">
              <a:lnSpc>
                <a:spcPct val="100000"/>
              </a:lnSpc>
              <a:spcBef>
                <a:spcPct val="20000"/>
              </a:spcBef>
              <a:spcAft>
                <a:spcPts val="0"/>
              </a:spcAft>
              <a:buClrTx/>
              <a:buFont typeface="Arial"/>
              <a:buChar char="•"/>
              <a:defRPr/>
            </a:pPr>
            <a:endParaRPr lang="en-US" sz="1800" dirty="0">
              <a:solidFill>
                <a:schemeClr val="tx1"/>
              </a:solidFill>
              <a:cs typeface="Arial"/>
            </a:endParaRPr>
          </a:p>
          <a:p>
            <a:pPr marL="0" indent="0">
              <a:buNone/>
            </a:pPr>
            <a:endParaRPr lang="en-US" sz="1800" dirty="0">
              <a:solidFill>
                <a:schemeClr val="tx1"/>
              </a:solidFill>
            </a:endParaRPr>
          </a:p>
          <a:p>
            <a:pPr eaLnBrk="1" hangingPunct="1">
              <a:buFontTx/>
              <a:buNone/>
            </a:pPr>
            <a:endParaRPr lang="en-US" altLang="en-US" sz="1800" dirty="0">
              <a:solidFill>
                <a:schemeClr val="tx1"/>
              </a:solidFill>
            </a:endParaRPr>
          </a:p>
        </p:txBody>
      </p:sp>
    </p:spTree>
    <p:extLst>
      <p:ext uri="{BB962C8B-B14F-4D97-AF65-F5344CB8AC3E}">
        <p14:creationId xmlns:p14="http://schemas.microsoft.com/office/powerpoint/2010/main" val="412108029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5" name="Rectangle 2"/>
          <p:cNvSpPr>
            <a:spLocks noGrp="1" noChangeArrowheads="1"/>
          </p:cNvSpPr>
          <p:nvPr>
            <p:ph type="title"/>
          </p:nvPr>
        </p:nvSpPr>
        <p:spPr/>
        <p:txBody>
          <a:bodyPr/>
          <a:lstStyle/>
          <a:p>
            <a:pPr lvl="0" defTabSz="457200">
              <a:lnSpc>
                <a:spcPct val="100000"/>
              </a:lnSpc>
              <a:defRPr/>
            </a:pPr>
            <a:r>
              <a:rPr lang="en-US" dirty="0">
                <a:cs typeface="Arial"/>
              </a:rPr>
              <a:t>Exiting Event Blocks </a:t>
            </a:r>
          </a:p>
        </p:txBody>
      </p:sp>
      <p:sp>
        <p:nvSpPr>
          <p:cNvPr id="38914" name="Rectangle 3"/>
          <p:cNvSpPr>
            <a:spLocks noGrp="1" noChangeArrowheads="1"/>
          </p:cNvSpPr>
          <p:nvPr>
            <p:ph idx="1"/>
          </p:nvPr>
        </p:nvSpPr>
        <p:spPr/>
        <p:txBody>
          <a:bodyPr/>
          <a:lstStyle/>
          <a:p>
            <a:pPr marL="0" lvl="0" indent="0" defTabSz="457200">
              <a:lnSpc>
                <a:spcPct val="100000"/>
              </a:lnSpc>
              <a:spcBef>
                <a:spcPct val="20000"/>
              </a:spcBef>
              <a:spcAft>
                <a:spcPts val="0"/>
              </a:spcAft>
              <a:buClrTx/>
              <a:buNone/>
              <a:defRPr/>
            </a:pPr>
            <a:endParaRPr lang="en-US" sz="1800" dirty="0">
              <a:solidFill>
                <a:schemeClr val="tx1"/>
              </a:solidFill>
              <a:cs typeface="Arial"/>
            </a:endParaRPr>
          </a:p>
          <a:p>
            <a:pPr>
              <a:defRPr/>
            </a:pPr>
            <a:r>
              <a:rPr lang="en-US" dirty="0"/>
              <a:t>Series of statements that allows to leave an event block in the program.</a:t>
            </a:r>
          </a:p>
          <a:p>
            <a:pPr>
              <a:defRPr/>
            </a:pPr>
            <a:endParaRPr lang="en-US" dirty="0"/>
          </a:p>
          <a:p>
            <a:pPr>
              <a:defRPr/>
            </a:pPr>
            <a:r>
              <a:rPr lang="en-US" dirty="0"/>
              <a:t>The processing of further statements depends on the statements and the events in which it is used.</a:t>
            </a:r>
          </a:p>
          <a:p>
            <a:pPr>
              <a:defRPr/>
            </a:pPr>
            <a:endParaRPr lang="en-US" dirty="0"/>
          </a:p>
          <a:p>
            <a:pPr>
              <a:defRPr/>
            </a:pPr>
            <a:r>
              <a:rPr lang="en-US" dirty="0"/>
              <a:t>Statements are used: </a:t>
            </a:r>
          </a:p>
          <a:p>
            <a:pPr lvl="1">
              <a:defRPr/>
            </a:pPr>
            <a:r>
              <a:rPr lang="en-US" dirty="0"/>
              <a:t>STOP  </a:t>
            </a:r>
          </a:p>
          <a:p>
            <a:pPr lvl="1">
              <a:defRPr/>
            </a:pPr>
            <a:r>
              <a:rPr lang="en-US" dirty="0"/>
              <a:t>EXIT  </a:t>
            </a:r>
          </a:p>
          <a:p>
            <a:pPr lvl="1">
              <a:defRPr/>
            </a:pPr>
            <a:r>
              <a:rPr lang="en-US" dirty="0"/>
              <a:t>CHECK</a:t>
            </a:r>
            <a:r>
              <a:rPr lang="en-US" dirty="0">
                <a:solidFill>
                  <a:schemeClr val="tx1"/>
                </a:solidFill>
              </a:rPr>
              <a:t>  </a:t>
            </a:r>
          </a:p>
          <a:p>
            <a:pPr eaLnBrk="1" hangingPunct="1">
              <a:buFontTx/>
              <a:buNone/>
            </a:pPr>
            <a:endParaRPr lang="en-US" altLang="en-US" sz="1800" dirty="0">
              <a:solidFill>
                <a:schemeClr val="tx1"/>
              </a:solidFill>
            </a:endParaRPr>
          </a:p>
        </p:txBody>
      </p:sp>
    </p:spTree>
    <p:extLst>
      <p:ext uri="{BB962C8B-B14F-4D97-AF65-F5344CB8AC3E}">
        <p14:creationId xmlns:p14="http://schemas.microsoft.com/office/powerpoint/2010/main" val="236296838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5" name="Rectangle 2"/>
          <p:cNvSpPr>
            <a:spLocks noGrp="1" noChangeArrowheads="1"/>
          </p:cNvSpPr>
          <p:nvPr>
            <p:ph type="title"/>
          </p:nvPr>
        </p:nvSpPr>
        <p:spPr/>
        <p:txBody>
          <a:bodyPr/>
          <a:lstStyle/>
          <a:p>
            <a:r>
              <a:rPr lang="en-US" dirty="0"/>
              <a:t>Leaving Event Blocks using STOP </a:t>
            </a:r>
            <a:endParaRPr lang="en-US" altLang="en-US" dirty="0"/>
          </a:p>
        </p:txBody>
      </p:sp>
      <p:sp>
        <p:nvSpPr>
          <p:cNvPr id="38914" name="Rectangle 3"/>
          <p:cNvSpPr>
            <a:spLocks noGrp="1" noChangeArrowheads="1"/>
          </p:cNvSpPr>
          <p:nvPr>
            <p:ph idx="1"/>
          </p:nvPr>
        </p:nvSpPr>
        <p:spPr/>
        <p:txBody>
          <a:bodyPr/>
          <a:lstStyle/>
          <a:p>
            <a:r>
              <a:rPr lang="en-US" sz="1800" dirty="0">
                <a:solidFill>
                  <a:schemeClr val="tx1"/>
                </a:solidFill>
              </a:rPr>
              <a:t>If you use the STOP statement within an event block, the system stops processing the block immediately. The ABAP runtime environment triggers the next event according to the following diagram: </a:t>
            </a:r>
          </a:p>
          <a:p>
            <a:pPr eaLnBrk="1" hangingPunct="1">
              <a:buFontTx/>
              <a:buNone/>
            </a:pPr>
            <a:endParaRPr lang="en-US" altLang="en-US" sz="1800" dirty="0"/>
          </a:p>
        </p:txBody>
      </p:sp>
      <p:pic>
        <p:nvPicPr>
          <p:cNvPr id="2560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566578" y="2345391"/>
            <a:ext cx="6309360" cy="425196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412108029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5" name="Rectangle 2"/>
          <p:cNvSpPr>
            <a:spLocks noGrp="1" noChangeArrowheads="1"/>
          </p:cNvSpPr>
          <p:nvPr>
            <p:ph type="title"/>
          </p:nvPr>
        </p:nvSpPr>
        <p:spPr/>
        <p:txBody>
          <a:bodyPr/>
          <a:lstStyle/>
          <a:p>
            <a:r>
              <a:rPr lang="en-US" dirty="0"/>
              <a:t>Leaving Event Blocks using EXIT </a:t>
            </a:r>
            <a:endParaRPr lang="en-US" altLang="en-US" dirty="0"/>
          </a:p>
        </p:txBody>
      </p:sp>
      <p:sp>
        <p:nvSpPr>
          <p:cNvPr id="38914" name="Rectangle 3"/>
          <p:cNvSpPr>
            <a:spLocks noGrp="1" noChangeArrowheads="1"/>
          </p:cNvSpPr>
          <p:nvPr>
            <p:ph idx="1"/>
          </p:nvPr>
        </p:nvSpPr>
        <p:spPr/>
        <p:txBody>
          <a:bodyPr/>
          <a:lstStyle/>
          <a:p>
            <a:r>
              <a:rPr lang="en-US" sz="1800" dirty="0"/>
              <a:t>From the START-OF-SELECTION event onwards, the system starts the list processor directly when the EXIT statement occurs, and displays the list. </a:t>
            </a:r>
          </a:p>
          <a:p>
            <a:r>
              <a:rPr lang="en-US" sz="1800" dirty="0"/>
              <a:t>If the EXIT statement occurs in a loop using DO, WHILE, or LOOP, it is the loop that terminates, not the processing lock. </a:t>
            </a:r>
          </a:p>
          <a:p>
            <a:pPr eaLnBrk="1" hangingPunct="1">
              <a:buFontTx/>
              <a:buNone/>
            </a:pPr>
            <a:endParaRPr lang="en-US" altLang="en-US" sz="1800" dirty="0"/>
          </a:p>
        </p:txBody>
      </p:sp>
      <p:pic>
        <p:nvPicPr>
          <p:cNvPr id="2662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730586" y="2761826"/>
            <a:ext cx="6558915" cy="349504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412108029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5" name="Rectangle 2"/>
          <p:cNvSpPr>
            <a:spLocks noGrp="1" noChangeArrowheads="1"/>
          </p:cNvSpPr>
          <p:nvPr>
            <p:ph type="title"/>
          </p:nvPr>
        </p:nvSpPr>
        <p:spPr/>
        <p:txBody>
          <a:bodyPr/>
          <a:lstStyle/>
          <a:p>
            <a:r>
              <a:rPr lang="en-US" dirty="0"/>
              <a:t>Leaving Event Blocks using CHECK </a:t>
            </a:r>
            <a:endParaRPr lang="en-US" altLang="en-US" dirty="0"/>
          </a:p>
        </p:txBody>
      </p:sp>
      <p:sp>
        <p:nvSpPr>
          <p:cNvPr id="38914" name="Rectangle 3"/>
          <p:cNvSpPr>
            <a:spLocks noGrp="1" noChangeArrowheads="1"/>
          </p:cNvSpPr>
          <p:nvPr>
            <p:ph idx="1"/>
          </p:nvPr>
        </p:nvSpPr>
        <p:spPr/>
        <p:txBody>
          <a:bodyPr/>
          <a:lstStyle/>
          <a:p>
            <a:r>
              <a:rPr lang="en-US" sz="1800" dirty="0">
                <a:solidFill>
                  <a:schemeClr val="tx1"/>
                </a:solidFill>
              </a:rPr>
              <a:t>If you use the CHECK &lt;EXPR&gt; statement within an event block but not within a loop, and the condition &lt;EXPR&gt; is not fulfilled, the system exits the processing block immediately. </a:t>
            </a:r>
          </a:p>
          <a:p>
            <a:pPr eaLnBrk="1" hangingPunct="1">
              <a:buFontTx/>
              <a:buNone/>
            </a:pPr>
            <a:endParaRPr lang="en-US" altLang="en-US" sz="1800" dirty="0"/>
          </a:p>
        </p:txBody>
      </p:sp>
      <p:pic>
        <p:nvPicPr>
          <p:cNvPr id="2765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827578" y="2311939"/>
            <a:ext cx="5598795" cy="420116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412108029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5" name="Rectangle 2"/>
          <p:cNvSpPr>
            <a:spLocks noGrp="1" noChangeArrowheads="1"/>
          </p:cNvSpPr>
          <p:nvPr>
            <p:ph type="title"/>
          </p:nvPr>
        </p:nvSpPr>
        <p:spPr/>
        <p:txBody>
          <a:bodyPr/>
          <a:lstStyle/>
          <a:p>
            <a:r>
              <a:rPr lang="en-US" dirty="0"/>
              <a:t>Leaving a GET event block using REJECT </a:t>
            </a:r>
          </a:p>
        </p:txBody>
      </p:sp>
      <p:sp>
        <p:nvSpPr>
          <p:cNvPr id="38914" name="Rectangle 3"/>
          <p:cNvSpPr>
            <a:spLocks noGrp="1" noChangeArrowheads="1"/>
          </p:cNvSpPr>
          <p:nvPr>
            <p:ph sz="quarter" idx="10"/>
          </p:nvPr>
        </p:nvSpPr>
        <p:spPr/>
        <p:txBody>
          <a:bodyPr/>
          <a:lstStyle/>
          <a:p>
            <a:r>
              <a:rPr lang="en-US" sz="1800" dirty="0">
                <a:solidFill>
                  <a:schemeClr val="tx1"/>
                </a:solidFill>
              </a:rPr>
              <a:t>The REJECT statement was specially developed for leaving GET event blocks. Unlike CHECK , EXIT and REJECT always refers to the current GET event block. The REJECT statement allows you to exit a GET event block directly from a loop or a subroutine. </a:t>
            </a:r>
          </a:p>
          <a:p>
            <a:pPr eaLnBrk="1" hangingPunct="1">
              <a:buFontTx/>
              <a:buNone/>
            </a:pPr>
            <a:endParaRPr lang="en-US" altLang="en-US" sz="1800" dirty="0"/>
          </a:p>
        </p:txBody>
      </p:sp>
      <p:pic>
        <p:nvPicPr>
          <p:cNvPr id="29698"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482494" y="2419814"/>
            <a:ext cx="5010150" cy="400812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412108029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a:t>Lesson Objectives</a:t>
            </a:r>
            <a:endParaRPr lang="en-US" sz="2400" dirty="0"/>
          </a:p>
        </p:txBody>
      </p:sp>
      <p:sp>
        <p:nvSpPr>
          <p:cNvPr id="2" name="Content Placeholder 1"/>
          <p:cNvSpPr>
            <a:spLocks noGrp="1"/>
          </p:cNvSpPr>
          <p:nvPr>
            <p:ph idx="1"/>
          </p:nvPr>
        </p:nvSpPr>
        <p:spPr>
          <a:xfrm>
            <a:off x="298516" y="1494767"/>
            <a:ext cx="6793764" cy="4204994"/>
          </a:xfrm>
        </p:spPr>
        <p:txBody>
          <a:bodyPr/>
          <a:lstStyle/>
          <a:p>
            <a:r>
              <a:rPr lang="en-US" dirty="0">
                <a:solidFill>
                  <a:schemeClr val="tx1"/>
                </a:solidFill>
              </a:rPr>
              <a:t>After completing this lesson, participants will be able to -</a:t>
            </a:r>
          </a:p>
          <a:p>
            <a:pPr lvl="1"/>
            <a:r>
              <a:rPr lang="en-US" dirty="0">
                <a:solidFill>
                  <a:schemeClr val="tx1"/>
                </a:solidFill>
              </a:rPr>
              <a:t>Identify the different events to trigger the Interactive report.</a:t>
            </a:r>
          </a:p>
          <a:p>
            <a:pPr lvl="1"/>
            <a:r>
              <a:rPr lang="en-US" dirty="0">
                <a:solidFill>
                  <a:schemeClr val="tx1"/>
                </a:solidFill>
              </a:rPr>
              <a:t>Purpose and usage of reporting events and its flow.</a:t>
            </a:r>
          </a:p>
          <a:p>
            <a:pPr lvl="1"/>
            <a:r>
              <a:rPr lang="en-US" dirty="0">
                <a:solidFill>
                  <a:schemeClr val="tx1"/>
                </a:solidFill>
              </a:rPr>
              <a:t>How to format the list output.</a:t>
            </a:r>
          </a:p>
          <a:p>
            <a:pPr lvl="1"/>
            <a:r>
              <a:rPr lang="en-US" dirty="0">
                <a:solidFill>
                  <a:schemeClr val="tx1"/>
                </a:solidFill>
              </a:rPr>
              <a:t>How to use the conditional and unconditional page breaks.</a:t>
            </a:r>
          </a:p>
          <a:p>
            <a:pPr lvl="1"/>
            <a:r>
              <a:rPr lang="en-US" dirty="0">
                <a:solidFill>
                  <a:schemeClr val="tx1"/>
                </a:solidFill>
              </a:rPr>
              <a:t>Illustrate the Interactive reporting events. </a:t>
            </a:r>
          </a:p>
          <a:p>
            <a:pPr marL="174625" lvl="1" indent="0">
              <a:buNone/>
            </a:pPr>
            <a:r>
              <a:rPr lang="en-US" dirty="0">
                <a:solidFill>
                  <a:schemeClr val="tx1"/>
                </a:solidFill>
              </a:rPr>
              <a:t>   AT LINE-SELECTION and  AT USER-COMMAND. </a:t>
            </a:r>
          </a:p>
          <a:p>
            <a:pPr lvl="1"/>
            <a:r>
              <a:rPr lang="en-US" dirty="0">
                <a:solidFill>
                  <a:schemeClr val="tx1"/>
                </a:solidFill>
              </a:rPr>
              <a:t>Illustrate using the menu painter.</a:t>
            </a:r>
          </a:p>
          <a:p>
            <a:pPr lvl="1"/>
            <a:endParaRPr lang="en-US" dirty="0">
              <a:solidFill>
                <a:schemeClr val="tx1"/>
              </a:solidFill>
            </a:endParaRPr>
          </a:p>
          <a:p>
            <a:pPr marL="174625" lvl="1" indent="0">
              <a:buNone/>
            </a:pPr>
            <a:endParaRPr lang="en-US" dirty="0">
              <a:solidFill>
                <a:schemeClr val="tx1"/>
              </a:solidFill>
            </a:endParaRPr>
          </a:p>
          <a:p>
            <a:endParaRPr lang="en-US" sz="1800" dirty="0">
              <a:solidFill>
                <a:schemeClr val="tx1"/>
              </a:solidFill>
            </a:endParaRPr>
          </a:p>
          <a:p>
            <a:endParaRPr lang="en-US" sz="1800" dirty="0">
              <a:solidFill>
                <a:schemeClr val="tx1"/>
              </a:solidFill>
            </a:endParaRPr>
          </a:p>
          <a:p>
            <a:endParaRPr lang="en-US" sz="1800" dirty="0">
              <a:solidFill>
                <a:schemeClr val="tx1"/>
              </a:solidFill>
            </a:endParaRPr>
          </a:p>
          <a:p>
            <a:pPr lvl="1"/>
            <a:endParaRPr lang="en-US" dirty="0">
              <a:solidFill>
                <a:schemeClr val="tx1"/>
              </a:solidFill>
            </a:endParaRPr>
          </a:p>
          <a:p>
            <a:pPr lvl="1"/>
            <a:endParaRPr lang="en-US" sz="1800" dirty="0">
              <a:solidFill>
                <a:schemeClr val="tx1"/>
              </a:solidFill>
            </a:endParaRPr>
          </a:p>
          <a:p>
            <a:endParaRPr lang="en-US" sz="2400" dirty="0">
              <a:solidFill>
                <a:schemeClr val="tx1"/>
              </a:solidFill>
            </a:endParaRPr>
          </a:p>
          <a:p>
            <a:pPr lvl="1"/>
            <a:endParaRPr lang="en-US" sz="1800" dirty="0">
              <a:solidFill>
                <a:schemeClr val="tx1"/>
              </a:solidFill>
            </a:endParaRPr>
          </a:p>
          <a:p>
            <a:pPr lvl="1"/>
            <a:endParaRPr lang="en-US" dirty="0">
              <a:solidFill>
                <a:schemeClr val="tx1"/>
              </a:solidFill>
            </a:endParaRPr>
          </a:p>
          <a:p>
            <a:pPr lvl="1"/>
            <a:endParaRPr lang="en-US" dirty="0">
              <a:solidFill>
                <a:schemeClr val="tx1"/>
              </a:solidFill>
            </a:endParaRPr>
          </a:p>
          <a:p>
            <a:endParaRPr lang="en-US" dirty="0">
              <a:solidFill>
                <a:schemeClr val="tx1"/>
              </a:solidFill>
            </a:endParaRPr>
          </a:p>
          <a:p>
            <a:endParaRPr lang="en-US" dirty="0">
              <a:solidFill>
                <a:schemeClr val="tx1"/>
              </a:solidFill>
            </a:endParaRPr>
          </a:p>
          <a:p>
            <a:endParaRPr lang="en-US" dirty="0">
              <a:solidFill>
                <a:schemeClr val="tx1"/>
              </a:solidFill>
            </a:endParaRPr>
          </a:p>
          <a:p>
            <a:endParaRPr lang="en-US" dirty="0">
              <a:solidFill>
                <a:schemeClr val="tx1"/>
              </a:solidFill>
            </a:endParaRPr>
          </a:p>
          <a:p>
            <a:endParaRPr lang="en-US" dirty="0">
              <a:solidFill>
                <a:schemeClr val="tx1"/>
              </a:solidFill>
            </a:endParaRPr>
          </a:p>
        </p:txBody>
      </p:sp>
    </p:spTree>
    <p:extLst>
      <p:ext uri="{BB962C8B-B14F-4D97-AF65-F5344CB8AC3E}">
        <p14:creationId xmlns:p14="http://schemas.microsoft.com/office/powerpoint/2010/main" val="363690451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5" name="Rectangle 2"/>
          <p:cNvSpPr>
            <a:spLocks noGrp="1" noChangeArrowheads="1"/>
          </p:cNvSpPr>
          <p:nvPr>
            <p:ph type="title"/>
          </p:nvPr>
        </p:nvSpPr>
        <p:spPr/>
        <p:txBody>
          <a:bodyPr/>
          <a:lstStyle/>
          <a:p>
            <a:r>
              <a:rPr lang="en-US" dirty="0"/>
              <a:t>Event Blocks in Executable Programs </a:t>
            </a:r>
            <a:endParaRPr lang="en-US" altLang="en-US" dirty="0"/>
          </a:p>
        </p:txBody>
      </p:sp>
      <p:sp>
        <p:nvSpPr>
          <p:cNvPr id="38914" name="Rectangle 3"/>
          <p:cNvSpPr>
            <a:spLocks noGrp="1" noChangeArrowheads="1"/>
          </p:cNvSpPr>
          <p:nvPr>
            <p:ph idx="1"/>
          </p:nvPr>
        </p:nvSpPr>
        <p:spPr/>
        <p:txBody>
          <a:bodyPr/>
          <a:lstStyle/>
          <a:p>
            <a:r>
              <a:rPr lang="en-US" sz="2000" dirty="0"/>
              <a:t>The events START-OF-SELECTION, GET, END-OF-SELECTION, TOP-OF-PAGE and END-OF-PAGE can be used only to create basic lists. Once you leave a basic list, these events are no longer processed. </a:t>
            </a:r>
          </a:p>
          <a:p>
            <a:r>
              <a:rPr lang="en-US" sz="2000" dirty="0"/>
              <a:t>Detail lists are created using three basic events: AT LINE-SELECTION, AT PF Status and AT USER-COMMAND. </a:t>
            </a:r>
          </a:p>
          <a:p>
            <a:r>
              <a:rPr lang="en-US" sz="2000" dirty="0"/>
              <a:t>The event TOP-OF-PAGE DURING LINE-SELECTION is used to create headers for all detail lists. </a:t>
            </a:r>
          </a:p>
          <a:p>
            <a:pPr eaLnBrk="1" hangingPunct="1">
              <a:buFontTx/>
              <a:buNone/>
            </a:pPr>
            <a:endParaRPr lang="en-US" altLang="en-US" sz="1800" dirty="0">
              <a:solidFill>
                <a:schemeClr val="tx1"/>
              </a:solidFill>
            </a:endParaRPr>
          </a:p>
        </p:txBody>
      </p:sp>
      <p:pic>
        <p:nvPicPr>
          <p:cNvPr id="14338"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419600" y="3394075"/>
            <a:ext cx="4438650" cy="29622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54512867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5" name="Rectangle 2"/>
          <p:cNvSpPr>
            <a:spLocks noGrp="1" noChangeArrowheads="1"/>
          </p:cNvSpPr>
          <p:nvPr>
            <p:ph type="title"/>
          </p:nvPr>
        </p:nvSpPr>
        <p:spPr>
          <a:xfrm>
            <a:off x="285750" y="63500"/>
            <a:ext cx="8629650" cy="857250"/>
          </a:xfrm>
        </p:spPr>
        <p:txBody>
          <a:bodyPr/>
          <a:lstStyle/>
          <a:p>
            <a:r>
              <a:rPr lang="en-US" dirty="0"/>
              <a:t>Interactive Process Flow </a:t>
            </a:r>
            <a:endParaRPr lang="en-US" altLang="en-US" dirty="0"/>
          </a:p>
        </p:txBody>
      </p:sp>
      <p:sp>
        <p:nvSpPr>
          <p:cNvPr id="2" name="Footer Placeholder 1"/>
          <p:cNvSpPr>
            <a:spLocks noGrp="1"/>
          </p:cNvSpPr>
          <p:nvPr>
            <p:ph type="ftr" sz="quarter" idx="11"/>
          </p:nvPr>
        </p:nvSpPr>
        <p:spPr/>
        <p:txBody>
          <a:bodyPr/>
          <a:lstStyle/>
          <a:p>
            <a:r>
              <a:rPr lang="en-US"/>
              <a:t>Capgemini Public</a:t>
            </a:r>
          </a:p>
        </p:txBody>
      </p:sp>
      <p:pic>
        <p:nvPicPr>
          <p:cNvPr id="1229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53139" y="1480457"/>
            <a:ext cx="7663542" cy="4383314"/>
          </a:xfrm>
          <a:prstGeom prst="rect">
            <a:avLst/>
          </a:prstGeom>
          <a:noFill/>
          <a:ln w="952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spTree>
    <p:extLst>
      <p:ext uri="{BB962C8B-B14F-4D97-AF65-F5344CB8AC3E}">
        <p14:creationId xmlns:p14="http://schemas.microsoft.com/office/powerpoint/2010/main" val="171892442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5" name="Rectangle 2"/>
          <p:cNvSpPr>
            <a:spLocks noGrp="1" noChangeArrowheads="1"/>
          </p:cNvSpPr>
          <p:nvPr>
            <p:ph type="title"/>
          </p:nvPr>
        </p:nvSpPr>
        <p:spPr/>
        <p:txBody>
          <a:bodyPr/>
          <a:lstStyle/>
          <a:p>
            <a:r>
              <a:rPr lang="en-US" dirty="0"/>
              <a:t>Interactive Reporting Events</a:t>
            </a:r>
            <a:endParaRPr lang="en-US" altLang="en-US" dirty="0"/>
          </a:p>
        </p:txBody>
      </p:sp>
      <p:sp>
        <p:nvSpPr>
          <p:cNvPr id="38914" name="Rectangle 3"/>
          <p:cNvSpPr>
            <a:spLocks noGrp="1" noChangeArrowheads="1"/>
          </p:cNvSpPr>
          <p:nvPr>
            <p:ph idx="1"/>
          </p:nvPr>
        </p:nvSpPr>
        <p:spPr/>
        <p:txBody>
          <a:bodyPr/>
          <a:lstStyle/>
          <a:p>
            <a:pPr lvl="0">
              <a:defRPr/>
            </a:pPr>
            <a:r>
              <a:rPr lang="en-US" dirty="0"/>
              <a:t>Lists are the output medium for structured, formatted data from ABAP programs.</a:t>
            </a:r>
          </a:p>
          <a:p>
            <a:pPr lvl="0">
              <a:defRPr/>
            </a:pPr>
            <a:endParaRPr lang="en-US" dirty="0"/>
          </a:p>
          <a:p>
            <a:pPr lvl="0">
              <a:defRPr/>
            </a:pPr>
            <a:r>
              <a:rPr lang="en-US" dirty="0"/>
              <a:t>In list processing the event will be intercepted by list processor and the list is processed.</a:t>
            </a:r>
          </a:p>
          <a:p>
            <a:pPr lvl="0">
              <a:defRPr/>
            </a:pPr>
            <a:endParaRPr lang="en-US" dirty="0"/>
          </a:p>
          <a:p>
            <a:pPr lvl="0">
              <a:defRPr/>
            </a:pPr>
            <a:r>
              <a:rPr lang="en-US" dirty="0"/>
              <a:t>One of the following list events may be called, that depends on the function code which is triggered by the user.</a:t>
            </a:r>
          </a:p>
          <a:p>
            <a:pPr marL="0" lvl="0" indent="0" algn="just" defTabSz="457200">
              <a:lnSpc>
                <a:spcPct val="100000"/>
              </a:lnSpc>
              <a:spcBef>
                <a:spcPct val="20000"/>
              </a:spcBef>
              <a:spcAft>
                <a:spcPts val="0"/>
              </a:spcAft>
              <a:buClrTx/>
              <a:buNone/>
              <a:defRPr/>
            </a:pPr>
            <a:endParaRPr lang="en-US" sz="1800" dirty="0">
              <a:solidFill>
                <a:schemeClr val="tx1"/>
              </a:solidFill>
              <a:cs typeface="Arial"/>
            </a:endParaRPr>
          </a:p>
          <a:p>
            <a:pPr lvl="1">
              <a:defRPr/>
            </a:pPr>
            <a:r>
              <a:rPr lang="en-US" dirty="0"/>
              <a:t>AT LINE-SELECTION</a:t>
            </a:r>
          </a:p>
          <a:p>
            <a:pPr lvl="1">
              <a:defRPr/>
            </a:pPr>
            <a:r>
              <a:rPr lang="en-US" dirty="0"/>
              <a:t>AT USER-COMMAND</a:t>
            </a:r>
          </a:p>
          <a:p>
            <a:pPr lvl="1">
              <a:defRPr/>
            </a:pPr>
            <a:r>
              <a:rPr lang="en-US" dirty="0"/>
              <a:t>AT PF-STATUS</a:t>
            </a:r>
          </a:p>
          <a:p>
            <a:pPr marL="231775" lvl="0" indent="-231775" defTabSz="457200">
              <a:lnSpc>
                <a:spcPct val="100000"/>
              </a:lnSpc>
              <a:spcBef>
                <a:spcPct val="20000"/>
              </a:spcBef>
              <a:spcAft>
                <a:spcPts val="0"/>
              </a:spcAft>
              <a:buClrTx/>
              <a:buFont typeface="Arial"/>
              <a:buChar char="•"/>
              <a:defRPr/>
            </a:pPr>
            <a:endParaRPr lang="en-US" sz="1800" dirty="0">
              <a:solidFill>
                <a:schemeClr val="tx1"/>
              </a:solidFill>
              <a:cs typeface="Arial"/>
            </a:endParaRPr>
          </a:p>
          <a:p>
            <a:pPr eaLnBrk="1" hangingPunct="1">
              <a:buFontTx/>
              <a:buNone/>
            </a:pPr>
            <a:endParaRPr lang="en-US" altLang="en-US" sz="1800" dirty="0">
              <a:solidFill>
                <a:schemeClr val="tx1"/>
              </a:solidFill>
            </a:endParaRPr>
          </a:p>
        </p:txBody>
      </p:sp>
    </p:spTree>
    <p:extLst>
      <p:ext uri="{BB962C8B-B14F-4D97-AF65-F5344CB8AC3E}">
        <p14:creationId xmlns:p14="http://schemas.microsoft.com/office/powerpoint/2010/main" val="412108029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5" name="Rectangle 2"/>
          <p:cNvSpPr>
            <a:spLocks noGrp="1" noChangeArrowheads="1"/>
          </p:cNvSpPr>
          <p:nvPr>
            <p:ph type="title"/>
          </p:nvPr>
        </p:nvSpPr>
        <p:spPr/>
        <p:txBody>
          <a:bodyPr/>
          <a:lstStyle/>
          <a:p>
            <a:r>
              <a:rPr lang="en-US" dirty="0"/>
              <a:t>AT Line-Selection </a:t>
            </a:r>
          </a:p>
        </p:txBody>
      </p:sp>
      <p:sp>
        <p:nvSpPr>
          <p:cNvPr id="3" name="Content Placeholder 2"/>
          <p:cNvSpPr>
            <a:spLocks noGrp="1"/>
          </p:cNvSpPr>
          <p:nvPr>
            <p:ph idx="1"/>
          </p:nvPr>
        </p:nvSpPr>
        <p:spPr>
          <a:xfrm>
            <a:off x="99331" y="1026680"/>
            <a:ext cx="8845484" cy="5134634"/>
          </a:xfrm>
        </p:spPr>
        <p:txBody>
          <a:bodyPr>
            <a:noAutofit/>
          </a:bodyPr>
          <a:lstStyle/>
          <a:p>
            <a:r>
              <a:rPr lang="en-US" sz="1600" dirty="0"/>
              <a:t>If the user double-clicks on a report line, the AT LINE-SELECTION event is triggered. The event can also be triggered by single clicking on a report line and either pressing the Detail icon in the application tool bar, pressing F2, or entering the word PICK in the OK code field and pressing Enter. </a:t>
            </a:r>
          </a:p>
          <a:p>
            <a:endParaRPr lang="en-US" sz="1600" dirty="0"/>
          </a:p>
          <a:p>
            <a:pPr lvl="0"/>
            <a:r>
              <a:rPr lang="en-US" sz="1600" dirty="0">
                <a:cs typeface="Arial"/>
              </a:rPr>
              <a:t>A program can display up to 21 lists, </a:t>
            </a:r>
          </a:p>
          <a:p>
            <a:pPr lvl="0"/>
            <a:r>
              <a:rPr lang="en-US" sz="1600" dirty="0">
                <a:cs typeface="Arial"/>
              </a:rPr>
              <a:t>out of which one is the basic list </a:t>
            </a:r>
          </a:p>
          <a:p>
            <a:pPr lvl="0"/>
            <a:r>
              <a:rPr lang="en-US" sz="1600" dirty="0">
                <a:cs typeface="Arial"/>
              </a:rPr>
              <a:t>and 20 are the secondary lists.</a:t>
            </a:r>
          </a:p>
          <a:p>
            <a:pPr lvl="0"/>
            <a:r>
              <a:rPr lang="en-US" sz="1600" dirty="0">
                <a:cs typeface="Arial"/>
              </a:rPr>
              <a:t>(Detailed List DL1, DL 2……and  DL 20).</a:t>
            </a:r>
          </a:p>
          <a:p>
            <a:endParaRPr lang="en-US" sz="1600" dirty="0">
              <a:cs typeface="Arial"/>
            </a:endParaRPr>
          </a:p>
          <a:p>
            <a:r>
              <a:rPr lang="en-US" sz="1600" dirty="0">
                <a:cs typeface="Arial"/>
              </a:rPr>
              <a:t>The basic list is nothing but the standard </a:t>
            </a:r>
          </a:p>
          <a:p>
            <a:r>
              <a:rPr lang="en-US" sz="1600" dirty="0">
                <a:cs typeface="Arial"/>
              </a:rPr>
              <a:t>screen of an executable program.</a:t>
            </a:r>
          </a:p>
          <a:p>
            <a:endParaRPr lang="en-US" sz="1600" dirty="0"/>
          </a:p>
          <a:p>
            <a:r>
              <a:rPr lang="en-US" sz="1600" dirty="0"/>
              <a:t>Each list has in its own individual </a:t>
            </a:r>
          </a:p>
          <a:p>
            <a:r>
              <a:rPr lang="en-US" sz="1600" dirty="0"/>
              <a:t>memory area called a list buffer</a:t>
            </a:r>
            <a:endParaRPr lang="en-US" sz="1600" dirty="0">
              <a:solidFill>
                <a:schemeClr val="tx1"/>
              </a:solidFill>
            </a:endParaRPr>
          </a:p>
        </p:txBody>
      </p:sp>
      <p:pic>
        <p:nvPicPr>
          <p:cNvPr id="13315"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634594" y="2117194"/>
            <a:ext cx="4410075" cy="3553237"/>
          </a:xfrm>
          <a:prstGeom prst="rect">
            <a:avLst/>
          </a:prstGeom>
          <a:noFill/>
          <a:ln w="19050">
            <a:solidFill>
              <a:schemeClr val="tx1"/>
            </a:solidFill>
            <a:miter lim="800000"/>
            <a:headEnd/>
            <a:tailEnd/>
          </a:ln>
          <a:extLst>
            <a:ext uri="{909E8E84-426E-40DD-AFC4-6F175D3DCCD1}">
              <a14:hiddenFill xmlns:a14="http://schemas.microsoft.com/office/drawing/2010/main">
                <a:solidFill>
                  <a:schemeClr val="accent1"/>
                </a:solidFill>
              </a14:hiddenFill>
            </a:ext>
          </a:extLst>
        </p:spPr>
      </p:pic>
    </p:spTree>
    <p:extLst>
      <p:ext uri="{BB962C8B-B14F-4D97-AF65-F5344CB8AC3E}">
        <p14:creationId xmlns:p14="http://schemas.microsoft.com/office/powerpoint/2010/main" val="79225834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5" name="Rectangle 2"/>
          <p:cNvSpPr>
            <a:spLocks noGrp="1" noChangeArrowheads="1"/>
          </p:cNvSpPr>
          <p:nvPr>
            <p:ph type="title"/>
          </p:nvPr>
        </p:nvSpPr>
        <p:spPr/>
        <p:txBody>
          <a:bodyPr>
            <a:normAutofit fontScale="90000"/>
          </a:bodyPr>
          <a:lstStyle/>
          <a:p>
            <a:pPr lvl="0"/>
            <a:br>
              <a:rPr lang="en-US" dirty="0">
                <a:cs typeface="Arial"/>
              </a:rPr>
            </a:br>
            <a:r>
              <a:rPr lang="en-US" dirty="0">
                <a:cs typeface="Arial"/>
              </a:rPr>
              <a:t>Creating Detail-Lists</a:t>
            </a:r>
            <a:br>
              <a:rPr lang="en-US" dirty="0">
                <a:cs typeface="Arial"/>
              </a:rPr>
            </a:br>
            <a:endParaRPr lang="en-US" altLang="en-US" dirty="0"/>
          </a:p>
        </p:txBody>
      </p:sp>
      <p:sp>
        <p:nvSpPr>
          <p:cNvPr id="38914" name="Rectangle 3"/>
          <p:cNvSpPr>
            <a:spLocks noGrp="1" noChangeArrowheads="1"/>
          </p:cNvSpPr>
          <p:nvPr>
            <p:ph idx="1"/>
          </p:nvPr>
        </p:nvSpPr>
        <p:spPr/>
        <p:txBody>
          <a:bodyPr/>
          <a:lstStyle/>
          <a:p>
            <a:pPr>
              <a:defRPr/>
            </a:pPr>
            <a:r>
              <a:rPr lang="en-US" dirty="0"/>
              <a:t>Detail lists are the lists created during an interactive list event</a:t>
            </a:r>
          </a:p>
          <a:p>
            <a:pPr>
              <a:defRPr/>
            </a:pPr>
            <a:r>
              <a:rPr lang="en-US" dirty="0"/>
              <a:t>Every time the user performs an action on a list, runtime environment will check whether there is an event block defined corresponding to the function code</a:t>
            </a:r>
          </a:p>
          <a:p>
            <a:pPr>
              <a:defRPr/>
            </a:pPr>
            <a:r>
              <a:rPr lang="en-US" dirty="0"/>
              <a:t>If an event block exists, the system field SY-LSIND is automatically increased by one and the relevant event block is then executed</a:t>
            </a:r>
          </a:p>
          <a:p>
            <a:pPr>
              <a:defRPr/>
            </a:pPr>
            <a:r>
              <a:rPr lang="en-US" dirty="0"/>
              <a:t>The list output that arises during this event block places its data into a new list (list level) with the index which is equal to SY-LSIND</a:t>
            </a:r>
          </a:p>
          <a:p>
            <a:pPr>
              <a:defRPr/>
            </a:pPr>
            <a:r>
              <a:rPr lang="en-US" dirty="0"/>
              <a:t>By default, the new list overwrites the previous list, however the list can also be displayed in the form of dialog box</a:t>
            </a:r>
          </a:p>
          <a:p>
            <a:pPr marL="231775" lvl="0" indent="-231775" algn="just" defTabSz="457200">
              <a:lnSpc>
                <a:spcPct val="100000"/>
              </a:lnSpc>
              <a:spcBef>
                <a:spcPct val="20000"/>
              </a:spcBef>
              <a:spcAft>
                <a:spcPts val="0"/>
              </a:spcAft>
              <a:buClrTx/>
              <a:buFont typeface="Arial"/>
              <a:buChar char="•"/>
              <a:defRPr/>
            </a:pPr>
            <a:endParaRPr lang="en-US" sz="1800" dirty="0">
              <a:solidFill>
                <a:schemeClr val="tx1"/>
              </a:solidFill>
              <a:cs typeface="Arial"/>
            </a:endParaRPr>
          </a:p>
          <a:p>
            <a:pPr marL="742950" lvl="1" indent="-285750" defTabSz="457200">
              <a:lnSpc>
                <a:spcPct val="100000"/>
              </a:lnSpc>
              <a:spcBef>
                <a:spcPct val="20000"/>
              </a:spcBef>
              <a:spcAft>
                <a:spcPts val="0"/>
              </a:spcAft>
              <a:buClrTx/>
              <a:buFont typeface="Arial"/>
              <a:buChar char="–"/>
              <a:defRPr/>
            </a:pPr>
            <a:endParaRPr lang="en-US" dirty="0">
              <a:solidFill>
                <a:schemeClr val="tx1"/>
              </a:solidFill>
            </a:endParaRPr>
          </a:p>
          <a:p>
            <a:pPr marL="231775" lvl="0" indent="-231775" defTabSz="457200">
              <a:lnSpc>
                <a:spcPct val="100000"/>
              </a:lnSpc>
              <a:spcBef>
                <a:spcPct val="20000"/>
              </a:spcBef>
              <a:spcAft>
                <a:spcPts val="0"/>
              </a:spcAft>
              <a:buClrTx/>
              <a:buFont typeface="Arial"/>
              <a:buChar char="•"/>
              <a:defRPr/>
            </a:pPr>
            <a:endParaRPr lang="en-US" sz="1800" dirty="0">
              <a:solidFill>
                <a:schemeClr val="tx1"/>
              </a:solidFill>
              <a:cs typeface="Arial"/>
            </a:endParaRPr>
          </a:p>
          <a:p>
            <a:pPr eaLnBrk="1" hangingPunct="1">
              <a:buFontTx/>
              <a:buNone/>
            </a:pPr>
            <a:endParaRPr lang="en-US" altLang="en-US" sz="1800" dirty="0">
              <a:solidFill>
                <a:schemeClr val="tx1"/>
              </a:solidFill>
            </a:endParaRPr>
          </a:p>
        </p:txBody>
      </p:sp>
    </p:spTree>
    <p:extLst>
      <p:ext uri="{BB962C8B-B14F-4D97-AF65-F5344CB8AC3E}">
        <p14:creationId xmlns:p14="http://schemas.microsoft.com/office/powerpoint/2010/main" val="355902996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5" name="Rectangle 2"/>
          <p:cNvSpPr>
            <a:spLocks noGrp="1" noChangeArrowheads="1"/>
          </p:cNvSpPr>
          <p:nvPr>
            <p:ph type="title"/>
          </p:nvPr>
        </p:nvSpPr>
        <p:spPr/>
        <p:txBody>
          <a:bodyPr>
            <a:normAutofit fontScale="90000"/>
          </a:bodyPr>
          <a:lstStyle/>
          <a:p>
            <a:br>
              <a:rPr lang="en-US" dirty="0">
                <a:cs typeface="Arial"/>
              </a:rPr>
            </a:br>
            <a:r>
              <a:rPr lang="en-US" dirty="0">
                <a:cs typeface="Arial"/>
              </a:rPr>
              <a:t>Creating Detail-Lists</a:t>
            </a:r>
            <a:br>
              <a:rPr lang="en-US" dirty="0">
                <a:cs typeface="Arial"/>
              </a:rPr>
            </a:br>
            <a:endParaRPr lang="en-US" altLang="en-US" dirty="0"/>
          </a:p>
        </p:txBody>
      </p:sp>
      <p:sp>
        <p:nvSpPr>
          <p:cNvPr id="38914" name="Rectangle 3"/>
          <p:cNvSpPr>
            <a:spLocks noGrp="1" noChangeArrowheads="1"/>
          </p:cNvSpPr>
          <p:nvPr>
            <p:ph idx="1"/>
          </p:nvPr>
        </p:nvSpPr>
        <p:spPr>
          <a:xfrm>
            <a:off x="298516" y="1504391"/>
            <a:ext cx="8845484" cy="4643751"/>
          </a:xfrm>
        </p:spPr>
        <p:txBody>
          <a:bodyPr/>
          <a:lstStyle/>
          <a:p>
            <a:pPr lvl="0">
              <a:defRPr/>
            </a:pPr>
            <a:r>
              <a:rPr lang="en-US" dirty="0"/>
              <a:t>Each interactive list event will create a new detail list</a:t>
            </a:r>
          </a:p>
          <a:p>
            <a:pPr lvl="0">
              <a:defRPr/>
            </a:pPr>
            <a:r>
              <a:rPr lang="en-US" dirty="0"/>
              <a:t> If a list is created by the user on the next level , the system will store the previous list and displays the new one</a:t>
            </a:r>
          </a:p>
          <a:p>
            <a:pPr lvl="0">
              <a:defRPr/>
            </a:pPr>
            <a:r>
              <a:rPr lang="en-US" dirty="0"/>
              <a:t>The user can interact with whichever list is currently displayed</a:t>
            </a:r>
          </a:p>
          <a:p>
            <a:pPr lvl="0">
              <a:defRPr/>
            </a:pPr>
            <a:r>
              <a:rPr lang="en-US" dirty="0"/>
              <a:t>No standard page header can be defined for detail lists</a:t>
            </a:r>
          </a:p>
          <a:p>
            <a:pPr marL="231775" lvl="0" indent="-231775" defTabSz="457200">
              <a:lnSpc>
                <a:spcPct val="100000"/>
              </a:lnSpc>
              <a:spcBef>
                <a:spcPct val="20000"/>
              </a:spcBef>
              <a:spcAft>
                <a:spcPts val="0"/>
              </a:spcAft>
              <a:buClrTx/>
              <a:buFont typeface="Arial"/>
              <a:buChar char="•"/>
              <a:defRPr/>
            </a:pPr>
            <a:endParaRPr lang="en-US" sz="1800" dirty="0">
              <a:solidFill>
                <a:schemeClr val="tx1"/>
              </a:solidFill>
              <a:cs typeface="Arial"/>
            </a:endParaRPr>
          </a:p>
          <a:p>
            <a:pPr eaLnBrk="1" hangingPunct="1">
              <a:buFontTx/>
              <a:buNone/>
            </a:pPr>
            <a:endParaRPr lang="en-US" altLang="en-US" sz="1800" dirty="0">
              <a:solidFill>
                <a:schemeClr val="tx1"/>
              </a:solidFill>
            </a:endParaRPr>
          </a:p>
        </p:txBody>
      </p:sp>
    </p:spTree>
    <p:extLst>
      <p:ext uri="{BB962C8B-B14F-4D97-AF65-F5344CB8AC3E}">
        <p14:creationId xmlns:p14="http://schemas.microsoft.com/office/powerpoint/2010/main" val="355902996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5" name="Rectangle 2"/>
          <p:cNvSpPr>
            <a:spLocks noGrp="1" noChangeArrowheads="1"/>
          </p:cNvSpPr>
          <p:nvPr>
            <p:ph type="title"/>
          </p:nvPr>
        </p:nvSpPr>
        <p:spPr/>
        <p:txBody>
          <a:bodyPr/>
          <a:lstStyle/>
          <a:p>
            <a:pPr eaLnBrk="1" hangingPunct="1"/>
            <a:r>
              <a:rPr lang="en-US" altLang="en-US" dirty="0"/>
              <a:t>Demo: Create Detail List using at Line Selection</a:t>
            </a:r>
          </a:p>
        </p:txBody>
      </p:sp>
      <p:sp>
        <p:nvSpPr>
          <p:cNvPr id="3" name="Content Placeholder 2"/>
          <p:cNvSpPr>
            <a:spLocks noGrp="1"/>
          </p:cNvSpPr>
          <p:nvPr>
            <p:ph idx="1"/>
          </p:nvPr>
        </p:nvSpPr>
        <p:spPr/>
        <p:txBody>
          <a:bodyPr/>
          <a:lstStyle/>
          <a:p>
            <a:endParaRPr lang="en-US"/>
          </a:p>
        </p:txBody>
      </p:sp>
    </p:spTree>
    <p:extLst>
      <p:ext uri="{BB962C8B-B14F-4D97-AF65-F5344CB8AC3E}">
        <p14:creationId xmlns:p14="http://schemas.microsoft.com/office/powerpoint/2010/main" val="229759984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Output Fields as Hotspots </a:t>
            </a:r>
          </a:p>
        </p:txBody>
      </p:sp>
      <p:sp>
        <p:nvSpPr>
          <p:cNvPr id="3" name="Content Placeholder 2"/>
          <p:cNvSpPr>
            <a:spLocks noGrp="1"/>
          </p:cNvSpPr>
          <p:nvPr>
            <p:ph sz="quarter" idx="10"/>
          </p:nvPr>
        </p:nvSpPr>
        <p:spPr/>
        <p:txBody>
          <a:bodyPr>
            <a:normAutofit fontScale="85000" lnSpcReduction="10000"/>
          </a:bodyPr>
          <a:lstStyle/>
          <a:p>
            <a:r>
              <a:rPr lang="en-US" dirty="0"/>
              <a:t>If the user clicks once onto a hotspot field, an event is triggered (for example, </a:t>
            </a:r>
          </a:p>
          <a:p>
            <a:r>
              <a:rPr lang="en-US" dirty="0"/>
              <a:t>AT LINE-SELECTION).To output areas as hotspots, use the following option </a:t>
            </a:r>
          </a:p>
          <a:p>
            <a:r>
              <a:rPr lang="en-US" dirty="0"/>
              <a:t>of the FORMAT statement: </a:t>
            </a:r>
          </a:p>
          <a:p>
            <a:r>
              <a:rPr lang="en-US" b="1" dirty="0"/>
              <a:t>Syntax: </a:t>
            </a:r>
            <a:r>
              <a:rPr lang="en-US" dirty="0"/>
              <a:t>FORMAT HOTSPOT [ON|OFF]. </a:t>
            </a:r>
          </a:p>
          <a:p>
            <a:r>
              <a:rPr lang="en-US" dirty="0"/>
              <a:t>REPORT ZCAP_REP.</a:t>
            </a:r>
            <a:br>
              <a:rPr lang="en-US" dirty="0"/>
            </a:br>
            <a:r>
              <a:rPr lang="en-US" dirty="0"/>
              <a:t>INCLUDE &lt;LIST&gt;.</a:t>
            </a:r>
            <a:r>
              <a:rPr lang="en-US" b="1" dirty="0"/>
              <a:t> 							Output: </a:t>
            </a:r>
            <a:br>
              <a:rPr lang="en-US" dirty="0"/>
            </a:br>
            <a:r>
              <a:rPr lang="en-US" dirty="0"/>
              <a:t>START-OF-SELECTION.</a:t>
            </a:r>
            <a:br>
              <a:rPr lang="en-US" dirty="0"/>
            </a:br>
            <a:r>
              <a:rPr lang="en-US" dirty="0"/>
              <a:t>  WRITE 'CLICK ON HOTSPOT FOR INTERACTIVE: '.</a:t>
            </a:r>
            <a:br>
              <a:rPr lang="en-US" dirty="0"/>
            </a:br>
            <a:r>
              <a:rPr lang="en-US" dirty="0"/>
              <a:t>  FORMAT HOTSPOT ON COLOR 5 INVERSE ON. WRITE 'HOTSPOT'.</a:t>
            </a:r>
            <a:br>
              <a:rPr lang="en-US" dirty="0"/>
            </a:br>
            <a:r>
              <a:rPr lang="en-US" dirty="0"/>
              <a:t>  FORMAT HOTSPOT OFF COLOR OFF.</a:t>
            </a:r>
            <a:r>
              <a:rPr lang="en-US" b="1" dirty="0"/>
              <a:t>                 </a:t>
            </a:r>
          </a:p>
          <a:p>
            <a:br>
              <a:rPr lang="en-US" dirty="0"/>
            </a:br>
            <a:r>
              <a:rPr lang="en-US" dirty="0"/>
              <a:t>AT LINE-SELECTION.</a:t>
            </a:r>
            <a:br>
              <a:rPr lang="en-US" dirty="0"/>
            </a:br>
            <a:r>
              <a:rPr lang="en-US" dirty="0"/>
              <a:t>  WRITE / 'NEW LIST AT-LINE-SELECTION'. SKIP.</a:t>
            </a:r>
            <a:br>
              <a:rPr lang="en-US" dirty="0"/>
            </a:br>
            <a:r>
              <a:rPr lang="en-US" dirty="0"/>
              <a:t>  WRITE 'THIS IS ALSO A HOTSPOT:'.</a:t>
            </a:r>
            <a:br>
              <a:rPr lang="en-US" dirty="0"/>
            </a:br>
            <a:r>
              <a:rPr lang="en-US" dirty="0"/>
              <a:t>  WRITE ICON_LIST AS ICON HOTSPOT. </a:t>
            </a:r>
          </a:p>
        </p:txBody>
      </p:sp>
      <p:pic>
        <p:nvPicPr>
          <p:cNvPr id="24578"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289909" y="3497769"/>
            <a:ext cx="2168453" cy="422131"/>
          </a:xfrm>
          <a:prstGeom prst="rect">
            <a:avLst/>
          </a:prstGeom>
          <a:noFill/>
          <a:ln w="952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pic>
        <p:nvPicPr>
          <p:cNvPr id="24579"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181486" y="4256131"/>
            <a:ext cx="2385299" cy="785813"/>
          </a:xfrm>
          <a:prstGeom prst="rect">
            <a:avLst/>
          </a:prstGeom>
          <a:noFill/>
          <a:ln w="952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spTree>
    <p:extLst>
      <p:ext uri="{BB962C8B-B14F-4D97-AF65-F5344CB8AC3E}">
        <p14:creationId xmlns:p14="http://schemas.microsoft.com/office/powerpoint/2010/main" val="336832097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5" name="Rectangle 2"/>
          <p:cNvSpPr>
            <a:spLocks noGrp="1" noChangeArrowheads="1"/>
          </p:cNvSpPr>
          <p:nvPr>
            <p:ph type="title"/>
          </p:nvPr>
        </p:nvSpPr>
        <p:spPr/>
        <p:txBody>
          <a:bodyPr>
            <a:normAutofit fontScale="90000"/>
          </a:bodyPr>
          <a:lstStyle/>
          <a:p>
            <a:pPr lvl="0"/>
            <a:br>
              <a:rPr lang="en-US" dirty="0">
                <a:solidFill>
                  <a:schemeClr val="tx1">
                    <a:lumMod val="65000"/>
                    <a:lumOff val="35000"/>
                  </a:schemeClr>
                </a:solidFill>
                <a:cs typeface="Arial"/>
              </a:rPr>
            </a:br>
            <a:r>
              <a:rPr lang="en-US" dirty="0">
                <a:cs typeface="Arial"/>
              </a:rPr>
              <a:t>Consequences of Event Control</a:t>
            </a:r>
            <a:br>
              <a:rPr lang="en-US" dirty="0">
                <a:cs typeface="Arial"/>
              </a:rPr>
            </a:br>
            <a:endParaRPr lang="en-US" altLang="en-US" dirty="0"/>
          </a:p>
        </p:txBody>
      </p:sp>
      <p:sp>
        <p:nvSpPr>
          <p:cNvPr id="38914" name="Rectangle 3"/>
          <p:cNvSpPr>
            <a:spLocks noGrp="1" noChangeArrowheads="1"/>
          </p:cNvSpPr>
          <p:nvPr>
            <p:ph idx="1"/>
          </p:nvPr>
        </p:nvSpPr>
        <p:spPr/>
        <p:txBody>
          <a:bodyPr/>
          <a:lstStyle/>
          <a:p>
            <a:pPr>
              <a:defRPr/>
            </a:pPr>
            <a:r>
              <a:rPr lang="en-US" dirty="0"/>
              <a:t>It is not possible to nest the Processing blocks</a:t>
            </a:r>
          </a:p>
          <a:p>
            <a:pPr>
              <a:defRPr/>
            </a:pPr>
            <a:r>
              <a:rPr lang="en-US" dirty="0"/>
              <a:t>The event TOP-OF-PAGE cannot be used in secondary lists but TOP-OF-PAGE DURING LINE-SELECTION can be used</a:t>
            </a:r>
          </a:p>
          <a:p>
            <a:pPr>
              <a:defRPr/>
            </a:pPr>
            <a:r>
              <a:rPr lang="en-US" dirty="0"/>
              <a:t>The event END-OF-PAGE in secondary lists is not processed by the system</a:t>
            </a:r>
          </a:p>
          <a:p>
            <a:pPr>
              <a:defRPr/>
            </a:pPr>
            <a:r>
              <a:rPr lang="en-US" dirty="0"/>
              <a:t>The GET and GET LATE  cannot be used to retrieve data for secondary lists</a:t>
            </a:r>
          </a:p>
          <a:p>
            <a:pPr eaLnBrk="1" hangingPunct="1">
              <a:buFontTx/>
              <a:buNone/>
            </a:pPr>
            <a:endParaRPr lang="en-US" altLang="en-US" sz="1800" dirty="0">
              <a:solidFill>
                <a:schemeClr val="tx1"/>
              </a:solidFill>
            </a:endParaRPr>
          </a:p>
        </p:txBody>
      </p:sp>
    </p:spTree>
    <p:extLst>
      <p:ext uri="{BB962C8B-B14F-4D97-AF65-F5344CB8AC3E}">
        <p14:creationId xmlns:p14="http://schemas.microsoft.com/office/powerpoint/2010/main" val="355902996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5" name="Rectangle 2"/>
          <p:cNvSpPr>
            <a:spLocks noGrp="1" noChangeArrowheads="1"/>
          </p:cNvSpPr>
          <p:nvPr>
            <p:ph type="title"/>
          </p:nvPr>
        </p:nvSpPr>
        <p:spPr/>
        <p:txBody>
          <a:bodyPr/>
          <a:lstStyle/>
          <a:p>
            <a:r>
              <a:rPr lang="en-US" dirty="0"/>
              <a:t>Data Transport by using HIDE </a:t>
            </a:r>
          </a:p>
        </p:txBody>
      </p:sp>
      <p:sp>
        <p:nvSpPr>
          <p:cNvPr id="38914" name="Rectangle 3"/>
          <p:cNvSpPr>
            <a:spLocks noGrp="1" noChangeArrowheads="1"/>
          </p:cNvSpPr>
          <p:nvPr>
            <p:ph idx="1"/>
          </p:nvPr>
        </p:nvSpPr>
        <p:spPr>
          <a:xfrm>
            <a:off x="231139" y="1045437"/>
            <a:ext cx="8845484" cy="4643751"/>
          </a:xfrm>
        </p:spPr>
        <p:txBody>
          <a:bodyPr/>
          <a:lstStyle/>
          <a:p>
            <a:pPr>
              <a:lnSpc>
                <a:spcPct val="100000"/>
              </a:lnSpc>
            </a:pPr>
            <a:r>
              <a:rPr lang="en-US" sz="1800" dirty="0">
                <a:solidFill>
                  <a:schemeClr val="tx1"/>
                </a:solidFill>
              </a:rPr>
              <a:t>The HIDE keyword is used to store data objects and their values so they can be made available when the User selects a report line. When a line is selected, the fields that were hidden are filled with the values that you hid for that line. </a:t>
            </a:r>
          </a:p>
          <a:p>
            <a:pPr lvl="0">
              <a:lnSpc>
                <a:spcPct val="100000"/>
              </a:lnSpc>
            </a:pPr>
            <a:r>
              <a:rPr lang="en-US" sz="1800" dirty="0">
                <a:solidFill>
                  <a:schemeClr val="tx1"/>
                </a:solidFill>
                <a:cs typeface="Arial"/>
              </a:rPr>
              <a:t>It places the contents of the variable &lt;f&gt;  for the current output line </a:t>
            </a:r>
          </a:p>
          <a:p>
            <a:pPr marL="0" indent="0">
              <a:lnSpc>
                <a:spcPct val="100000"/>
              </a:lnSpc>
              <a:buNone/>
            </a:pPr>
            <a:r>
              <a:rPr lang="en-US" sz="1800" dirty="0">
                <a:solidFill>
                  <a:schemeClr val="tx1"/>
                </a:solidFill>
                <a:cs typeface="Arial"/>
              </a:rPr>
              <a:t> (system field SY-LINNO) into the HIDE Area.     HIDE &lt;f&gt;.</a:t>
            </a:r>
            <a:endParaRPr lang="en-US" sz="2000" dirty="0">
              <a:solidFill>
                <a:schemeClr val="tx1"/>
              </a:solidFill>
              <a:cs typeface="Arial"/>
            </a:endParaRPr>
          </a:p>
          <a:p>
            <a:pPr marL="0" lvl="0" indent="0">
              <a:lnSpc>
                <a:spcPct val="100000"/>
              </a:lnSpc>
              <a:buNone/>
            </a:pPr>
            <a:endParaRPr lang="en-US" sz="1800" dirty="0">
              <a:solidFill>
                <a:schemeClr val="tx1"/>
              </a:solidFill>
              <a:cs typeface="Arial"/>
            </a:endParaRPr>
          </a:p>
          <a:p>
            <a:endParaRPr lang="en-US" sz="1800" dirty="0">
              <a:solidFill>
                <a:schemeClr val="tx1"/>
              </a:solidFill>
            </a:endParaRPr>
          </a:p>
          <a:p>
            <a:endParaRPr lang="en-US" sz="1800" dirty="0">
              <a:solidFill>
                <a:schemeClr val="tx1"/>
              </a:solidFill>
            </a:endParaRPr>
          </a:p>
        </p:txBody>
      </p:sp>
      <p:pic>
        <p:nvPicPr>
          <p:cNvPr id="18434"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10639" y="3001553"/>
            <a:ext cx="7663544" cy="3196082"/>
          </a:xfrm>
          <a:prstGeom prst="rect">
            <a:avLst/>
          </a:prstGeom>
          <a:noFill/>
          <a:ln w="952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spTree>
    <p:extLst>
      <p:ext uri="{BB962C8B-B14F-4D97-AF65-F5344CB8AC3E}">
        <p14:creationId xmlns:p14="http://schemas.microsoft.com/office/powerpoint/2010/main" val="307166739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eporting Events </a:t>
            </a:r>
          </a:p>
        </p:txBody>
      </p:sp>
      <p:sp>
        <p:nvSpPr>
          <p:cNvPr id="3" name="Content Placeholder 2"/>
          <p:cNvSpPr>
            <a:spLocks noGrp="1"/>
          </p:cNvSpPr>
          <p:nvPr>
            <p:ph idx="1"/>
          </p:nvPr>
        </p:nvSpPr>
        <p:spPr/>
        <p:txBody>
          <a:bodyPr/>
          <a:lstStyle/>
          <a:p>
            <a:r>
              <a:rPr lang="en-US" dirty="0"/>
              <a:t>Event Blocks in Executable Programs </a:t>
            </a:r>
            <a:endParaRPr lang="en-US" sz="1800" dirty="0">
              <a:solidFill>
                <a:schemeClr val="tx1"/>
              </a:solidFill>
            </a:endParaRPr>
          </a:p>
          <a:p>
            <a:pPr lvl="1"/>
            <a:r>
              <a:rPr lang="en-US" dirty="0"/>
              <a:t>When you run an executable program, the program flow is controlled by the external events in the ABAP runtime environment. The following diagram (Next Slide) shows the sequence of the events.</a:t>
            </a:r>
          </a:p>
          <a:p>
            <a:pPr lvl="1"/>
            <a:r>
              <a:rPr lang="en-US" dirty="0"/>
              <a:t>The events in the gray box are only processed if you have entered a logical database in the program attributes. The AT SELECTION-SCREEN event is only processed if a selection screen is defined in the program or the logical database linked to the program. </a:t>
            </a:r>
          </a:p>
          <a:p>
            <a:pPr lvl="1"/>
            <a:r>
              <a:rPr lang="en-US" dirty="0"/>
              <a:t>The other events occur when any executable program is runs. </a:t>
            </a:r>
          </a:p>
        </p:txBody>
      </p:sp>
    </p:spTree>
    <p:extLst>
      <p:ext uri="{BB962C8B-B14F-4D97-AF65-F5344CB8AC3E}">
        <p14:creationId xmlns:p14="http://schemas.microsoft.com/office/powerpoint/2010/main" val="2983626540"/>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5" name="Rectangle 2"/>
          <p:cNvSpPr>
            <a:spLocks noGrp="1" noChangeArrowheads="1"/>
          </p:cNvSpPr>
          <p:nvPr>
            <p:ph type="title"/>
          </p:nvPr>
        </p:nvSpPr>
        <p:spPr/>
        <p:txBody>
          <a:bodyPr>
            <a:normAutofit fontScale="90000"/>
          </a:bodyPr>
          <a:lstStyle/>
          <a:p>
            <a:br>
              <a:rPr lang="en-US" dirty="0"/>
            </a:br>
            <a:r>
              <a:rPr lang="en-US" dirty="0"/>
              <a:t>Line Selection – Hide Statement </a:t>
            </a:r>
            <a:br>
              <a:rPr lang="en-US" dirty="0"/>
            </a:br>
            <a:endParaRPr lang="en-US" altLang="en-US" dirty="0"/>
          </a:p>
        </p:txBody>
      </p:sp>
      <p:sp>
        <p:nvSpPr>
          <p:cNvPr id="38914" name="Rectangle 3"/>
          <p:cNvSpPr>
            <a:spLocks noGrp="1" noChangeArrowheads="1"/>
          </p:cNvSpPr>
          <p:nvPr>
            <p:ph idx="1"/>
          </p:nvPr>
        </p:nvSpPr>
        <p:spPr/>
        <p:txBody>
          <a:bodyPr/>
          <a:lstStyle/>
          <a:p>
            <a:pPr>
              <a:lnSpc>
                <a:spcPct val="100000"/>
              </a:lnSpc>
            </a:pPr>
            <a:r>
              <a:rPr lang="en-US" sz="1800" dirty="0">
                <a:solidFill>
                  <a:schemeClr val="tx1"/>
                </a:solidFill>
              </a:rPr>
              <a:t>The user selects a line for which data has been stored in the HIDE area. </a:t>
            </a:r>
          </a:p>
          <a:p>
            <a:pPr>
              <a:lnSpc>
                <a:spcPct val="100000"/>
              </a:lnSpc>
            </a:pPr>
            <a:r>
              <a:rPr lang="en-US" sz="1800" dirty="0">
                <a:solidFill>
                  <a:schemeClr val="tx1"/>
                </a:solidFill>
              </a:rPr>
              <a:t>The runtime system evaluates field SY-LILLI to determine the selected line. </a:t>
            </a:r>
          </a:p>
          <a:p>
            <a:pPr>
              <a:lnSpc>
                <a:spcPct val="100000"/>
              </a:lnSpc>
            </a:pPr>
            <a:r>
              <a:rPr lang="en-US" sz="1800" dirty="0">
                <a:solidFill>
                  <a:schemeClr val="tx1"/>
                </a:solidFill>
              </a:rPr>
              <a:t>The runtime system jumps to the point in the HIDE area where data for this line is stored. </a:t>
            </a:r>
          </a:p>
          <a:p>
            <a:pPr>
              <a:lnSpc>
                <a:spcPct val="100000"/>
              </a:lnSpc>
            </a:pPr>
            <a:r>
              <a:rPr lang="en-US" sz="1800" dirty="0">
                <a:solidFill>
                  <a:schemeClr val="tx1"/>
                </a:solidFill>
              </a:rPr>
              <a:t>The runtime system then inserts all values stored for the selected line in the HIDE area into their corresponding fields. </a:t>
            </a:r>
          </a:p>
          <a:p>
            <a:pPr>
              <a:lnSpc>
                <a:spcPct val="100000"/>
              </a:lnSpc>
            </a:pPr>
            <a:r>
              <a:rPr lang="en-US" sz="1800" dirty="0">
                <a:solidFill>
                  <a:schemeClr val="tx1"/>
                </a:solidFill>
              </a:rPr>
              <a:t>The runtime system processes the event AT LINE-SELECTION and its corresponding program processing block. </a:t>
            </a:r>
          </a:p>
          <a:p>
            <a:pPr>
              <a:lnSpc>
                <a:spcPct val="100000"/>
              </a:lnSpc>
            </a:pPr>
            <a:r>
              <a:rPr lang="en-US" sz="1800" dirty="0">
                <a:solidFill>
                  <a:schemeClr val="tx1"/>
                </a:solidFill>
              </a:rPr>
              <a:t>A detail list is created. </a:t>
            </a:r>
          </a:p>
          <a:p>
            <a:pPr>
              <a:lnSpc>
                <a:spcPct val="100000"/>
              </a:lnSpc>
            </a:pPr>
            <a:endParaRPr lang="en-US" sz="1800" dirty="0">
              <a:solidFill>
                <a:schemeClr val="tx1"/>
              </a:solidFill>
            </a:endParaRPr>
          </a:p>
          <a:p>
            <a:pPr eaLnBrk="1" hangingPunct="1">
              <a:buFontTx/>
              <a:buNone/>
            </a:pPr>
            <a:endParaRPr lang="en-US" altLang="en-US" sz="1800" dirty="0">
              <a:solidFill>
                <a:schemeClr val="tx1"/>
              </a:solidFill>
            </a:endParaRPr>
          </a:p>
        </p:txBody>
      </p:sp>
      <p:pic>
        <p:nvPicPr>
          <p:cNvPr id="5"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224327" y="3769178"/>
            <a:ext cx="3537670" cy="249010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559029968"/>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5" name="Rectangle 2"/>
          <p:cNvSpPr>
            <a:spLocks noGrp="1" noChangeArrowheads="1"/>
          </p:cNvSpPr>
          <p:nvPr>
            <p:ph type="title"/>
          </p:nvPr>
        </p:nvSpPr>
        <p:spPr/>
        <p:txBody>
          <a:bodyPr/>
          <a:lstStyle/>
          <a:p>
            <a:pPr eaLnBrk="1" hangingPunct="1"/>
            <a:r>
              <a:rPr lang="en-US" altLang="en-US" dirty="0"/>
              <a:t>Demo: Hide Statement</a:t>
            </a:r>
          </a:p>
        </p:txBody>
      </p:sp>
      <p:sp>
        <p:nvSpPr>
          <p:cNvPr id="3" name="Content Placeholder 2"/>
          <p:cNvSpPr>
            <a:spLocks noGrp="1"/>
          </p:cNvSpPr>
          <p:nvPr>
            <p:ph idx="1"/>
          </p:nvPr>
        </p:nvSpPr>
        <p:spPr/>
        <p:txBody>
          <a:bodyPr/>
          <a:lstStyle/>
          <a:p>
            <a:endParaRPr lang="en-US"/>
          </a:p>
        </p:txBody>
      </p:sp>
    </p:spTree>
    <p:extLst>
      <p:ext uri="{BB962C8B-B14F-4D97-AF65-F5344CB8AC3E}">
        <p14:creationId xmlns:p14="http://schemas.microsoft.com/office/powerpoint/2010/main" val="318488032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5" name="Rectangle 2"/>
          <p:cNvSpPr>
            <a:spLocks noGrp="1" noChangeArrowheads="1"/>
          </p:cNvSpPr>
          <p:nvPr>
            <p:ph type="title"/>
          </p:nvPr>
        </p:nvSpPr>
        <p:spPr/>
        <p:txBody>
          <a:bodyPr>
            <a:normAutofit fontScale="90000"/>
          </a:bodyPr>
          <a:lstStyle/>
          <a:p>
            <a:br>
              <a:rPr lang="en-US" dirty="0"/>
            </a:br>
            <a:r>
              <a:rPr lang="en-US" dirty="0"/>
              <a:t>Field Selection - GET CURSOR </a:t>
            </a:r>
            <a:br>
              <a:rPr lang="en-US" dirty="0"/>
            </a:br>
            <a:endParaRPr lang="en-US" altLang="en-US" dirty="0"/>
          </a:p>
        </p:txBody>
      </p:sp>
      <p:sp>
        <p:nvSpPr>
          <p:cNvPr id="38914" name="Rectangle 3"/>
          <p:cNvSpPr>
            <a:spLocks noGrp="1" noChangeArrowheads="1"/>
          </p:cNvSpPr>
          <p:nvPr>
            <p:ph idx="1"/>
          </p:nvPr>
        </p:nvSpPr>
        <p:spPr/>
        <p:txBody>
          <a:bodyPr/>
          <a:lstStyle/>
          <a:p>
            <a:r>
              <a:rPr lang="en-US" sz="1800" dirty="0">
                <a:solidFill>
                  <a:schemeClr val="tx1"/>
                </a:solidFill>
              </a:rPr>
              <a:t>GET CURSOR statement is used to create detail lists according to the cursor position. </a:t>
            </a:r>
          </a:p>
          <a:p>
            <a:pPr lvl="0"/>
            <a:r>
              <a:rPr lang="en-US" sz="1800" dirty="0">
                <a:solidFill>
                  <a:schemeClr val="tx1"/>
                </a:solidFill>
              </a:rPr>
              <a:t>The parameter FIELD provides the name of an output field. The parameter VALUE provide the output value.</a:t>
            </a:r>
          </a:p>
          <a:p>
            <a:pPr lvl="0"/>
            <a:r>
              <a:rPr lang="en-US" sz="1800" dirty="0">
                <a:solidFill>
                  <a:schemeClr val="tx1"/>
                </a:solidFill>
              </a:rPr>
              <a:t> </a:t>
            </a:r>
            <a:r>
              <a:rPr lang="en-US" sz="1800" dirty="0">
                <a:solidFill>
                  <a:schemeClr val="tx1"/>
                </a:solidFill>
                <a:cs typeface="Arial"/>
              </a:rPr>
              <a:t>GET CURSOR FIELD &lt;f&gt; [OFFSET &lt;off&gt;] [LINE &lt;lin&gt;] </a:t>
            </a:r>
            <a:br>
              <a:rPr lang="en-US" sz="1800" dirty="0">
                <a:solidFill>
                  <a:schemeClr val="tx1"/>
                </a:solidFill>
                <a:cs typeface="Arial"/>
              </a:rPr>
            </a:br>
            <a:r>
              <a:rPr lang="en-US" sz="1800" dirty="0">
                <a:solidFill>
                  <a:schemeClr val="tx1"/>
                </a:solidFill>
                <a:cs typeface="Arial"/>
              </a:rPr>
              <a:t>[VALUE &lt;val&gt;] [LENGTH &lt;len&gt;].</a:t>
            </a:r>
            <a:endParaRPr lang="en-US" sz="2400" dirty="0">
              <a:solidFill>
                <a:schemeClr val="tx1"/>
              </a:solidFill>
              <a:cs typeface="Arial"/>
            </a:endParaRPr>
          </a:p>
          <a:p>
            <a:endParaRPr lang="en-US" sz="1800" dirty="0">
              <a:solidFill>
                <a:schemeClr val="tx1"/>
              </a:solidFill>
            </a:endParaRPr>
          </a:p>
          <a:p>
            <a:pPr eaLnBrk="1" hangingPunct="1">
              <a:buFontTx/>
              <a:buNone/>
            </a:pPr>
            <a:endParaRPr lang="en-US" altLang="en-US" sz="1800" dirty="0">
              <a:solidFill>
                <a:schemeClr val="tx1"/>
              </a:solidFill>
            </a:endParaRPr>
          </a:p>
        </p:txBody>
      </p:sp>
      <p:pic>
        <p:nvPicPr>
          <p:cNvPr id="1638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53142" y="3316406"/>
            <a:ext cx="7460342" cy="2822111"/>
          </a:xfrm>
          <a:prstGeom prst="rect">
            <a:avLst/>
          </a:prstGeom>
          <a:noFill/>
          <a:ln w="952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spTree>
    <p:extLst>
      <p:ext uri="{BB962C8B-B14F-4D97-AF65-F5344CB8AC3E}">
        <p14:creationId xmlns:p14="http://schemas.microsoft.com/office/powerpoint/2010/main" val="3559029968"/>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5" name="Rectangle 2"/>
          <p:cNvSpPr>
            <a:spLocks noGrp="1" noChangeArrowheads="1"/>
          </p:cNvSpPr>
          <p:nvPr>
            <p:ph type="title"/>
          </p:nvPr>
        </p:nvSpPr>
        <p:spPr/>
        <p:txBody>
          <a:bodyPr/>
          <a:lstStyle/>
          <a:p>
            <a:pPr eaLnBrk="1" hangingPunct="1"/>
            <a:r>
              <a:rPr lang="en-US" altLang="en-US" dirty="0"/>
              <a:t>Demo: Get Cursor</a:t>
            </a:r>
          </a:p>
        </p:txBody>
      </p:sp>
      <p:sp>
        <p:nvSpPr>
          <p:cNvPr id="3" name="Content Placeholder 2"/>
          <p:cNvSpPr>
            <a:spLocks noGrp="1"/>
          </p:cNvSpPr>
          <p:nvPr>
            <p:ph idx="1"/>
          </p:nvPr>
        </p:nvSpPr>
        <p:spPr/>
        <p:txBody>
          <a:bodyPr/>
          <a:lstStyle/>
          <a:p>
            <a:endParaRPr lang="en-US"/>
          </a:p>
        </p:txBody>
      </p:sp>
    </p:spTree>
    <p:extLst>
      <p:ext uri="{BB962C8B-B14F-4D97-AF65-F5344CB8AC3E}">
        <p14:creationId xmlns:p14="http://schemas.microsoft.com/office/powerpoint/2010/main" val="2528203994"/>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5" name="Rectangle 2"/>
          <p:cNvSpPr>
            <a:spLocks noGrp="1" noChangeArrowheads="1"/>
          </p:cNvSpPr>
          <p:nvPr>
            <p:ph type="title"/>
          </p:nvPr>
        </p:nvSpPr>
        <p:spPr/>
        <p:txBody>
          <a:bodyPr/>
          <a:lstStyle/>
          <a:p>
            <a:pPr lvl="0" defTabSz="457200">
              <a:lnSpc>
                <a:spcPct val="100000"/>
              </a:lnSpc>
              <a:defRPr/>
            </a:pPr>
            <a:r>
              <a:rPr lang="en-US" dirty="0">
                <a:cs typeface="Arial"/>
              </a:rPr>
              <a:t>Lists in Dialog Box</a:t>
            </a:r>
          </a:p>
        </p:txBody>
      </p:sp>
      <p:sp>
        <p:nvSpPr>
          <p:cNvPr id="38914" name="Rectangle 3"/>
          <p:cNvSpPr>
            <a:spLocks noGrp="1" noChangeArrowheads="1"/>
          </p:cNvSpPr>
          <p:nvPr>
            <p:ph idx="1"/>
          </p:nvPr>
        </p:nvSpPr>
        <p:spPr/>
        <p:txBody>
          <a:bodyPr/>
          <a:lstStyle/>
          <a:p>
            <a:pPr lvl="0">
              <a:defRPr/>
            </a:pPr>
            <a:r>
              <a:rPr lang="en-US" dirty="0"/>
              <a:t>List can be displayed in a dialog box instead of on the full screen using the following WINDOW statement</a:t>
            </a:r>
          </a:p>
          <a:p>
            <a:pPr marL="231775" lvl="0" indent="-231775" algn="just" defTabSz="457200">
              <a:lnSpc>
                <a:spcPct val="100000"/>
              </a:lnSpc>
              <a:spcBef>
                <a:spcPct val="20000"/>
              </a:spcBef>
              <a:spcAft>
                <a:spcPts val="0"/>
              </a:spcAft>
              <a:buClrTx/>
              <a:buFont typeface="Arial"/>
              <a:buChar char="•"/>
              <a:defRPr/>
            </a:pPr>
            <a:endParaRPr lang="en-US" sz="2000" dirty="0">
              <a:solidFill>
                <a:schemeClr val="tx1"/>
              </a:solidFill>
              <a:cs typeface="Arial"/>
            </a:endParaRPr>
          </a:p>
          <a:p>
            <a:pPr marL="1143000" lvl="2" indent="-1089025" algn="just" defTabSz="457200">
              <a:lnSpc>
                <a:spcPct val="100000"/>
              </a:lnSpc>
              <a:spcBef>
                <a:spcPct val="20000"/>
              </a:spcBef>
              <a:spcAft>
                <a:spcPts val="0"/>
              </a:spcAft>
              <a:buClrTx/>
              <a:buNone/>
              <a:defRPr/>
            </a:pPr>
            <a:r>
              <a:rPr lang="en-US" sz="1800" dirty="0">
                <a:solidFill>
                  <a:schemeClr val="tx1"/>
                </a:solidFill>
              </a:rPr>
              <a:t>WINDOW STARTING AT &lt;left&gt; &lt;upper&gt; [ENDING AT &lt;right&gt; &lt;lower&gt;].</a:t>
            </a:r>
            <a:endParaRPr lang="en-US" dirty="0">
              <a:solidFill>
                <a:schemeClr val="tx1"/>
              </a:solidFill>
            </a:endParaRPr>
          </a:p>
          <a:p>
            <a:pPr marL="1600200" lvl="3" indent="-228600" algn="just" defTabSz="457200">
              <a:lnSpc>
                <a:spcPct val="100000"/>
              </a:lnSpc>
              <a:spcBef>
                <a:spcPct val="20000"/>
              </a:spcBef>
              <a:spcAft>
                <a:spcPts val="0"/>
              </a:spcAft>
              <a:buClrTx/>
              <a:buFont typeface="Arial"/>
              <a:buChar char="–"/>
              <a:defRPr/>
            </a:pPr>
            <a:endParaRPr lang="en-US" sz="1400" dirty="0">
              <a:solidFill>
                <a:schemeClr val="tx1"/>
              </a:solidFill>
            </a:endParaRPr>
          </a:p>
          <a:p>
            <a:pPr lvl="0">
              <a:defRPr/>
            </a:pPr>
            <a:r>
              <a:rPr lang="en-US" dirty="0"/>
              <a:t>The WINDOW statement takes effect only within the interactive event’s processing block which is only for detail lists</a:t>
            </a:r>
          </a:p>
          <a:p>
            <a:pPr lvl="0">
              <a:defRPr/>
            </a:pPr>
            <a:endParaRPr lang="en-US" dirty="0"/>
          </a:p>
          <a:p>
            <a:pPr lvl="0">
              <a:defRPr/>
            </a:pPr>
            <a:r>
              <a:rPr lang="en-US" dirty="0"/>
              <a:t>Dialog boxes do not have either menu bar or standard toolbar</a:t>
            </a:r>
          </a:p>
          <a:p>
            <a:pPr lvl="0">
              <a:defRPr/>
            </a:pPr>
            <a:endParaRPr lang="en-US" dirty="0"/>
          </a:p>
          <a:p>
            <a:pPr lvl="0">
              <a:defRPr/>
            </a:pPr>
            <a:r>
              <a:rPr lang="en-US" dirty="0"/>
              <a:t>The application toolbar is seen at the bottom of the dialog box, this feature is common to all dialog boxes in the R/3 System</a:t>
            </a:r>
          </a:p>
          <a:p>
            <a:pPr marL="231775" lvl="0" indent="-231775" algn="just" defTabSz="457200">
              <a:lnSpc>
                <a:spcPct val="100000"/>
              </a:lnSpc>
              <a:spcBef>
                <a:spcPct val="20000"/>
              </a:spcBef>
              <a:spcAft>
                <a:spcPts val="0"/>
              </a:spcAft>
              <a:buClrTx/>
              <a:buFont typeface="Arial"/>
              <a:buChar char="•"/>
              <a:defRPr/>
            </a:pPr>
            <a:endParaRPr lang="en-US" sz="2000" dirty="0">
              <a:solidFill>
                <a:schemeClr val="tx1"/>
              </a:solidFill>
              <a:cs typeface="Arial"/>
            </a:endParaRPr>
          </a:p>
          <a:p>
            <a:pPr eaLnBrk="1" hangingPunct="1">
              <a:buFontTx/>
              <a:buNone/>
            </a:pPr>
            <a:endParaRPr lang="en-US" altLang="en-US" sz="1800" dirty="0">
              <a:solidFill>
                <a:schemeClr val="tx1"/>
              </a:solidFill>
            </a:endParaRPr>
          </a:p>
        </p:txBody>
      </p:sp>
    </p:spTree>
    <p:extLst>
      <p:ext uri="{BB962C8B-B14F-4D97-AF65-F5344CB8AC3E}">
        <p14:creationId xmlns:p14="http://schemas.microsoft.com/office/powerpoint/2010/main" val="1938336150"/>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5" name="Rectangle 2"/>
          <p:cNvSpPr>
            <a:spLocks noGrp="1" noChangeArrowheads="1"/>
          </p:cNvSpPr>
          <p:nvPr>
            <p:ph type="title"/>
          </p:nvPr>
        </p:nvSpPr>
        <p:spPr/>
        <p:txBody>
          <a:bodyPr/>
          <a:lstStyle/>
          <a:p>
            <a:r>
              <a:rPr lang="en-US" dirty="0"/>
              <a:t>Reading and Modifying List Line </a:t>
            </a:r>
            <a:endParaRPr lang="en-US" altLang="en-US" dirty="0"/>
          </a:p>
        </p:txBody>
      </p:sp>
      <p:sp>
        <p:nvSpPr>
          <p:cNvPr id="38914" name="Rectangle 3"/>
          <p:cNvSpPr>
            <a:spLocks noGrp="1" noChangeArrowheads="1"/>
          </p:cNvSpPr>
          <p:nvPr>
            <p:ph idx="1"/>
          </p:nvPr>
        </p:nvSpPr>
        <p:spPr/>
        <p:txBody>
          <a:bodyPr/>
          <a:lstStyle/>
          <a:p>
            <a:r>
              <a:rPr lang="en-US" dirty="0"/>
              <a:t>READ - Reading a Line from a List </a:t>
            </a:r>
          </a:p>
          <a:p>
            <a:pPr lvl="1"/>
            <a:r>
              <a:rPr lang="en-US" dirty="0"/>
              <a:t>READS LINE NUMBER LINE OF THE LIST, USUALLY AFTER A LINE SELECTION </a:t>
            </a:r>
          </a:p>
          <a:p>
            <a:pPr lvl="2"/>
            <a:r>
              <a:rPr lang="en-US" dirty="0"/>
              <a:t>READ LINE LINE. </a:t>
            </a:r>
          </a:p>
          <a:p>
            <a:pPr lvl="2"/>
            <a:r>
              <a:rPr lang="en-US" dirty="0"/>
              <a:t>READ LINE LINE OF CURRENT PAGE. </a:t>
            </a:r>
          </a:p>
          <a:p>
            <a:pPr lvl="2"/>
            <a:r>
              <a:rPr lang="en-US" dirty="0"/>
              <a:t>READ LINE LINE OF PAGE PAG </a:t>
            </a:r>
          </a:p>
          <a:p>
            <a:pPr lvl="2"/>
            <a:r>
              <a:rPr lang="en-US" dirty="0"/>
              <a:t>READ CURRENT LINE </a:t>
            </a:r>
          </a:p>
          <a:p>
            <a:r>
              <a:rPr lang="en-US" dirty="0"/>
              <a:t>MODIFY LINE n. </a:t>
            </a:r>
          </a:p>
          <a:p>
            <a:pPr lvl="1"/>
            <a:r>
              <a:rPr lang="en-US" dirty="0"/>
              <a:t>Change a List Line </a:t>
            </a:r>
          </a:p>
          <a:p>
            <a:pPr lvl="2"/>
            <a:r>
              <a:rPr lang="en-US" dirty="0"/>
              <a:t>INDEX IDX - Changes the corresponding line in the list at list level IDX </a:t>
            </a:r>
          </a:p>
          <a:p>
            <a:pPr lvl="2"/>
            <a:r>
              <a:rPr lang="en-US" dirty="0"/>
              <a:t>FIELD VALUE f1 FROM G1 ... FN FROM GN </a:t>
            </a:r>
          </a:p>
          <a:p>
            <a:r>
              <a:rPr lang="en-US" dirty="0"/>
              <a:t>WINDOW STARTING AT X1 Y1 ENDING AT X2 Y2. </a:t>
            </a:r>
          </a:p>
          <a:p>
            <a:pPr lvl="1"/>
            <a:r>
              <a:rPr lang="en-US" dirty="0"/>
              <a:t>Displays the current secondary list as a modal dialog box only up to 20 windows </a:t>
            </a:r>
          </a:p>
          <a:p>
            <a:pPr eaLnBrk="1" hangingPunct="1">
              <a:buFontTx/>
              <a:buNone/>
            </a:pPr>
            <a:endParaRPr lang="en-US" altLang="en-US" sz="1800" dirty="0">
              <a:solidFill>
                <a:schemeClr val="tx1"/>
              </a:solidFill>
            </a:endParaRPr>
          </a:p>
        </p:txBody>
      </p:sp>
    </p:spTree>
    <p:extLst>
      <p:ext uri="{BB962C8B-B14F-4D97-AF65-F5344CB8AC3E}">
        <p14:creationId xmlns:p14="http://schemas.microsoft.com/office/powerpoint/2010/main" val="3559029968"/>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5" name="Rectangle 2"/>
          <p:cNvSpPr>
            <a:spLocks noGrp="1" noChangeArrowheads="1"/>
          </p:cNvSpPr>
          <p:nvPr>
            <p:ph type="title"/>
          </p:nvPr>
        </p:nvSpPr>
        <p:spPr/>
        <p:txBody>
          <a:bodyPr/>
          <a:lstStyle/>
          <a:p>
            <a:pPr lvl="0" defTabSz="457200">
              <a:lnSpc>
                <a:spcPct val="100000"/>
              </a:lnSpc>
              <a:defRPr/>
            </a:pPr>
            <a:r>
              <a:rPr lang="en-US" dirty="0">
                <a:cs typeface="Arial"/>
              </a:rPr>
              <a:t>Reading Lines from the Lists</a:t>
            </a:r>
          </a:p>
        </p:txBody>
      </p:sp>
      <p:sp>
        <p:nvSpPr>
          <p:cNvPr id="3" name="Content Placeholder 2"/>
          <p:cNvSpPr>
            <a:spLocks noGrp="1"/>
          </p:cNvSpPr>
          <p:nvPr>
            <p:ph idx="1"/>
          </p:nvPr>
        </p:nvSpPr>
        <p:spPr/>
        <p:txBody>
          <a:bodyPr/>
          <a:lstStyle/>
          <a:p>
            <a:pPr lvl="0">
              <a:defRPr/>
            </a:pPr>
            <a:r>
              <a:rPr lang="en-US" dirty="0"/>
              <a:t>Used to read a line from a list after an interactive list event.</a:t>
            </a:r>
          </a:p>
          <a:p>
            <a:pPr marL="742950" lvl="1" indent="-285750" defTabSz="457200">
              <a:lnSpc>
                <a:spcPct val="100000"/>
              </a:lnSpc>
              <a:spcBef>
                <a:spcPct val="20000"/>
              </a:spcBef>
              <a:spcAft>
                <a:spcPts val="0"/>
              </a:spcAft>
              <a:buClrTx/>
              <a:buNone/>
              <a:defRPr/>
            </a:pPr>
            <a:r>
              <a:rPr lang="en-US" sz="1600" dirty="0">
                <a:solidFill>
                  <a:schemeClr val="tx1"/>
                </a:solidFill>
              </a:rPr>
              <a:t>READ LINE &lt;</a:t>
            </a:r>
            <a:r>
              <a:rPr lang="en-US" sz="1600" dirty="0" err="1">
                <a:solidFill>
                  <a:schemeClr val="tx1"/>
                </a:solidFill>
              </a:rPr>
              <a:t>lin</a:t>
            </a:r>
            <a:r>
              <a:rPr lang="en-US" sz="1600" dirty="0">
                <a:solidFill>
                  <a:schemeClr val="tx1"/>
                </a:solidFill>
              </a:rPr>
              <a:t>&gt; [INDEX &lt;</a:t>
            </a:r>
            <a:r>
              <a:rPr lang="en-US" sz="1600" dirty="0" err="1">
                <a:solidFill>
                  <a:schemeClr val="tx1"/>
                </a:solidFill>
              </a:rPr>
              <a:t>idx</a:t>
            </a:r>
            <a:r>
              <a:rPr lang="en-US" sz="1600" dirty="0">
                <a:solidFill>
                  <a:schemeClr val="tx1"/>
                </a:solidFill>
              </a:rPr>
              <a:t>&gt;] [FIELD VALUE &lt;f1&gt; [INTO &lt;g 1&gt;] ... &lt;f n&gt; [INTO &lt;g n&gt;]]  [OF CURRENT PAGE|OF </a:t>
            </a:r>
            <a:r>
              <a:rPr lang="en-US" dirty="0">
                <a:solidFill>
                  <a:schemeClr val="tx1"/>
                </a:solidFill>
              </a:rPr>
              <a:t>PAGE &lt;p&gt;].</a:t>
            </a:r>
          </a:p>
          <a:p>
            <a:pPr marL="742950" lvl="1" indent="-285750" defTabSz="457200">
              <a:lnSpc>
                <a:spcPct val="100000"/>
              </a:lnSpc>
              <a:spcBef>
                <a:spcPct val="20000"/>
              </a:spcBef>
              <a:spcAft>
                <a:spcPts val="0"/>
              </a:spcAft>
              <a:buClrTx/>
              <a:buNone/>
              <a:defRPr/>
            </a:pPr>
            <a:endParaRPr lang="en-US" dirty="0">
              <a:solidFill>
                <a:schemeClr val="tx1"/>
              </a:solidFill>
            </a:endParaRPr>
          </a:p>
          <a:p>
            <a:pPr lvl="1">
              <a:defRPr/>
            </a:pPr>
            <a:r>
              <a:rPr lang="en-US" dirty="0"/>
              <a:t>The statement stores the contents of line &lt;</a:t>
            </a:r>
            <a:r>
              <a:rPr lang="en-US" dirty="0" err="1"/>
              <a:t>lin</a:t>
            </a:r>
            <a:r>
              <a:rPr lang="en-US" dirty="0"/>
              <a:t>&gt; from the list on which the event </a:t>
            </a:r>
          </a:p>
          <a:p>
            <a:pPr marL="174625" lvl="1" indent="0">
              <a:buNone/>
              <a:defRPr/>
            </a:pPr>
            <a:r>
              <a:rPr lang="en-US" dirty="0"/>
              <a:t>was triggered (index SY-LILLI) in the SY-LISEL system field and will fill all HIDE </a:t>
            </a:r>
          </a:p>
          <a:p>
            <a:pPr marL="174625" lvl="1" indent="0">
              <a:buNone/>
              <a:defRPr/>
            </a:pPr>
            <a:r>
              <a:rPr lang="en-US" dirty="0"/>
              <a:t>information that is stored for this line back to the corresponding fields</a:t>
            </a:r>
          </a:p>
          <a:p>
            <a:pPr marL="914400" lvl="2" indent="0" algn="just" defTabSz="457200">
              <a:lnSpc>
                <a:spcPct val="100000"/>
              </a:lnSpc>
              <a:spcBef>
                <a:spcPct val="20000"/>
              </a:spcBef>
              <a:spcAft>
                <a:spcPts val="0"/>
              </a:spcAft>
              <a:buClrTx/>
              <a:buNone/>
              <a:defRPr/>
            </a:pPr>
            <a:endParaRPr lang="en-US" dirty="0">
              <a:solidFill>
                <a:schemeClr val="tx1"/>
              </a:solidFill>
            </a:endParaRPr>
          </a:p>
          <a:p>
            <a:pPr marL="742950" lvl="1" indent="-285750" algn="just" defTabSz="457200">
              <a:lnSpc>
                <a:spcPct val="100000"/>
              </a:lnSpc>
              <a:spcBef>
                <a:spcPct val="20000"/>
              </a:spcBef>
              <a:spcAft>
                <a:spcPts val="0"/>
              </a:spcAft>
              <a:buClrTx/>
              <a:buNone/>
              <a:defRPr/>
            </a:pPr>
            <a:r>
              <a:rPr lang="en-US" sz="1600" dirty="0">
                <a:solidFill>
                  <a:schemeClr val="tx1"/>
                </a:solidFill>
              </a:rPr>
              <a:t>READ CURRENT </a:t>
            </a:r>
            <a:r>
              <a:rPr lang="en-US" dirty="0">
                <a:solidFill>
                  <a:schemeClr val="tx1"/>
                </a:solidFill>
              </a:rPr>
              <a:t>LINE [FIELD VALUE &lt;f1&gt; [INTO &lt;g 1&gt;] ...].</a:t>
            </a:r>
          </a:p>
          <a:p>
            <a:pPr marL="457200" lvl="1" indent="0" algn="just" defTabSz="457200">
              <a:lnSpc>
                <a:spcPct val="100000"/>
              </a:lnSpc>
              <a:spcBef>
                <a:spcPct val="20000"/>
              </a:spcBef>
              <a:spcAft>
                <a:spcPts val="0"/>
              </a:spcAft>
              <a:buClrTx/>
              <a:buNone/>
              <a:defRPr/>
            </a:pPr>
            <a:endParaRPr lang="en-US" dirty="0">
              <a:solidFill>
                <a:schemeClr val="tx1"/>
              </a:solidFill>
            </a:endParaRPr>
          </a:p>
          <a:p>
            <a:pPr lvl="1">
              <a:defRPr/>
            </a:pPr>
            <a:r>
              <a:rPr lang="en-US" dirty="0"/>
              <a:t>This statement reads a line read before by an interactive event or by READ LINE</a:t>
            </a:r>
          </a:p>
          <a:p>
            <a:pPr marL="0" lvl="0" indent="0" defTabSz="457200">
              <a:lnSpc>
                <a:spcPct val="100000"/>
              </a:lnSpc>
              <a:spcBef>
                <a:spcPct val="20000"/>
              </a:spcBef>
              <a:spcAft>
                <a:spcPts val="0"/>
              </a:spcAft>
              <a:buClrTx/>
              <a:buNone/>
              <a:defRPr/>
            </a:pPr>
            <a:endParaRPr lang="en-US" sz="2000" dirty="0">
              <a:solidFill>
                <a:schemeClr val="tx1"/>
              </a:solidFill>
              <a:cs typeface="Arial"/>
            </a:endParaRPr>
          </a:p>
          <a:p>
            <a:endParaRPr lang="en-US" dirty="0">
              <a:solidFill>
                <a:schemeClr val="tx1"/>
              </a:solidFill>
            </a:endParaRPr>
          </a:p>
        </p:txBody>
      </p:sp>
    </p:spTree>
    <p:extLst>
      <p:ext uri="{BB962C8B-B14F-4D97-AF65-F5344CB8AC3E}">
        <p14:creationId xmlns:p14="http://schemas.microsoft.com/office/powerpoint/2010/main" val="2805356692"/>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5" name="Rectangle 2"/>
          <p:cNvSpPr>
            <a:spLocks noGrp="1" noChangeArrowheads="1"/>
          </p:cNvSpPr>
          <p:nvPr>
            <p:ph type="title"/>
          </p:nvPr>
        </p:nvSpPr>
        <p:spPr/>
        <p:txBody>
          <a:bodyPr/>
          <a:lstStyle/>
          <a:p>
            <a:pPr eaLnBrk="1" hangingPunct="1"/>
            <a:r>
              <a:rPr lang="en-US" altLang="en-US" dirty="0"/>
              <a:t>Demo: Read Lines from List</a:t>
            </a:r>
          </a:p>
        </p:txBody>
      </p:sp>
      <p:sp>
        <p:nvSpPr>
          <p:cNvPr id="3" name="Content Placeholder 2"/>
          <p:cNvSpPr>
            <a:spLocks noGrp="1"/>
          </p:cNvSpPr>
          <p:nvPr>
            <p:ph idx="1"/>
          </p:nvPr>
        </p:nvSpPr>
        <p:spPr/>
        <p:txBody>
          <a:bodyPr/>
          <a:lstStyle/>
          <a:p>
            <a:endParaRPr lang="en-US"/>
          </a:p>
        </p:txBody>
      </p:sp>
    </p:spTree>
    <p:extLst>
      <p:ext uri="{BB962C8B-B14F-4D97-AF65-F5344CB8AC3E}">
        <p14:creationId xmlns:p14="http://schemas.microsoft.com/office/powerpoint/2010/main" val="252811626"/>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5" name="Rectangle 2"/>
          <p:cNvSpPr>
            <a:spLocks noGrp="1" noChangeArrowheads="1"/>
          </p:cNvSpPr>
          <p:nvPr>
            <p:ph type="title"/>
          </p:nvPr>
        </p:nvSpPr>
        <p:spPr/>
        <p:txBody>
          <a:bodyPr/>
          <a:lstStyle/>
          <a:p>
            <a:r>
              <a:rPr lang="en-US" dirty="0"/>
              <a:t>System Fields for Interactive Lists </a:t>
            </a:r>
            <a:endParaRPr lang="en-US" altLang="en-US" dirty="0"/>
          </a:p>
        </p:txBody>
      </p:sp>
      <p:pic>
        <p:nvPicPr>
          <p:cNvPr id="17410" name="Picture 2"/>
          <p:cNvPicPr>
            <a:picLocks noGrp="1" noChangeAspect="1" noChangeArrowheads="1"/>
          </p:cNvPicPr>
          <p:nvPr>
            <p:ph idx="1"/>
          </p:nvPr>
        </p:nvPicPr>
        <p:blipFill>
          <a:blip r:embed="rId3">
            <a:extLst>
              <a:ext uri="{28A0092B-C50C-407E-A947-70E740481C1C}">
                <a14:useLocalDpi xmlns:a14="http://schemas.microsoft.com/office/drawing/2010/main" val="0"/>
              </a:ext>
            </a:extLst>
          </a:blip>
          <a:stretch>
            <a:fillRect/>
          </a:stretch>
        </p:blipFill>
        <p:spPr bwMode="auto">
          <a:xfrm>
            <a:off x="805219" y="1878556"/>
            <a:ext cx="7137778" cy="412592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809262767"/>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5" name="Rectangle 2"/>
          <p:cNvSpPr>
            <a:spLocks noGrp="1" noChangeArrowheads="1"/>
          </p:cNvSpPr>
          <p:nvPr>
            <p:ph type="title"/>
          </p:nvPr>
        </p:nvSpPr>
        <p:spPr/>
        <p:txBody>
          <a:bodyPr/>
          <a:lstStyle/>
          <a:p>
            <a:r>
              <a:rPr lang="en-US" dirty="0"/>
              <a:t>System Fields for Interactive Lists </a:t>
            </a:r>
            <a:endParaRPr lang="en-US" altLang="en-US" dirty="0"/>
          </a:p>
        </p:txBody>
      </p:sp>
      <p:sp>
        <p:nvSpPr>
          <p:cNvPr id="38914" name="Rectangle 3"/>
          <p:cNvSpPr>
            <a:spLocks noGrp="1" noChangeArrowheads="1"/>
          </p:cNvSpPr>
          <p:nvPr>
            <p:ph idx="1"/>
          </p:nvPr>
        </p:nvSpPr>
        <p:spPr>
          <a:xfrm>
            <a:off x="298516" y="914400"/>
            <a:ext cx="8845484" cy="5224117"/>
          </a:xfrm>
        </p:spPr>
        <p:txBody>
          <a:bodyPr>
            <a:normAutofit fontScale="55000" lnSpcReduction="20000"/>
          </a:bodyPr>
          <a:lstStyle/>
          <a:p>
            <a:pPr lvl="1">
              <a:defRPr/>
            </a:pPr>
            <a:r>
              <a:rPr lang="en-US" sz="2900" dirty="0"/>
              <a:t>SY-LSIND	Index for the current list. </a:t>
            </a:r>
          </a:p>
          <a:p>
            <a:pPr lvl="1">
              <a:defRPr/>
            </a:pPr>
            <a:r>
              <a:rPr lang="en-US" sz="2900" dirty="0"/>
              <a:t>SY-LISTI	Index of the last list displayed. </a:t>
            </a:r>
          </a:p>
          <a:p>
            <a:pPr lvl="1">
              <a:defRPr/>
            </a:pPr>
            <a:r>
              <a:rPr lang="en-US" sz="2900" dirty="0"/>
              <a:t>SY-LILLI	Absolute number of a selected line in the list displayed. </a:t>
            </a:r>
          </a:p>
          <a:p>
            <a:pPr lvl="1">
              <a:defRPr/>
            </a:pPr>
            <a:r>
              <a:rPr lang="en-US" sz="2900" dirty="0"/>
              <a:t>SY-CPAGE	Number of the upper-most displayed line in the list displayed.</a:t>
            </a:r>
          </a:p>
          <a:p>
            <a:pPr lvl="1">
              <a:defRPr/>
            </a:pPr>
            <a:r>
              <a:rPr lang="en-US" sz="2900" dirty="0"/>
              <a:t>SY-LISEL 	Contents of the line from which the event was triggered. </a:t>
            </a:r>
          </a:p>
          <a:p>
            <a:pPr lvl="1">
              <a:defRPr/>
            </a:pPr>
            <a:r>
              <a:rPr lang="en-US" sz="2900" dirty="0"/>
              <a:t>SY-CUCOL	Number of the column in the window where the cursor was 			last positioned in the list displayed. </a:t>
            </a:r>
          </a:p>
          <a:p>
            <a:pPr lvl="1">
              <a:defRPr/>
            </a:pPr>
            <a:r>
              <a:rPr lang="en-US" sz="2900" dirty="0"/>
              <a:t>SY-CUROW	Number of the line in the window where the cursor was last 			positioned in the list displayed. </a:t>
            </a:r>
          </a:p>
          <a:p>
            <a:pPr lvl="1">
              <a:defRPr/>
            </a:pPr>
            <a:r>
              <a:rPr lang="en-US" sz="2900" dirty="0"/>
              <a:t>SY-STACO	Number of the first column displayed in the list displayed. </a:t>
            </a:r>
          </a:p>
          <a:p>
            <a:pPr lvl="1">
              <a:defRPr/>
            </a:pPr>
            <a:r>
              <a:rPr lang="en-US" sz="2900" dirty="0"/>
              <a:t>SY-STARO	Number of the first visible line in the top displayed page </a:t>
            </a:r>
          </a:p>
          <a:p>
            <a:pPr marL="174625" lvl="1" indent="0">
              <a:buNone/>
              <a:defRPr/>
            </a:pPr>
            <a:r>
              <a:rPr lang="en-US" sz="2900" dirty="0"/>
              <a:t>		(SY- PAGE) in the list displayed (not including header lines). </a:t>
            </a:r>
          </a:p>
          <a:p>
            <a:pPr lvl="1">
              <a:defRPr/>
            </a:pPr>
            <a:r>
              <a:rPr lang="en-US" sz="2900" dirty="0"/>
              <a:t>10.SY-UCOMM Function code that triggered the interactive event in the list </a:t>
            </a:r>
          </a:p>
          <a:p>
            <a:pPr lvl="1">
              <a:defRPr/>
            </a:pPr>
            <a:r>
              <a:rPr lang="en-US" sz="2900" dirty="0"/>
              <a:t>		displayed. </a:t>
            </a:r>
          </a:p>
          <a:p>
            <a:pPr lvl="1">
              <a:defRPr/>
            </a:pPr>
            <a:r>
              <a:rPr lang="en-US" sz="2900" dirty="0"/>
              <a:t>11.SY-PFKEY	Status of the list displayed. </a:t>
            </a:r>
          </a:p>
          <a:p>
            <a:pPr eaLnBrk="1" hangingPunct="1">
              <a:buFontTx/>
              <a:buNone/>
            </a:pPr>
            <a:endParaRPr lang="en-US" altLang="en-US" sz="1800" dirty="0">
              <a:solidFill>
                <a:schemeClr val="tx1"/>
              </a:solidFill>
            </a:endParaRPr>
          </a:p>
        </p:txBody>
      </p:sp>
    </p:spTree>
    <p:extLst>
      <p:ext uri="{BB962C8B-B14F-4D97-AF65-F5344CB8AC3E}">
        <p14:creationId xmlns:p14="http://schemas.microsoft.com/office/powerpoint/2010/main" val="280535669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eporting Events </a:t>
            </a:r>
          </a:p>
        </p:txBody>
      </p:sp>
      <p:sp>
        <p:nvSpPr>
          <p:cNvPr id="4" name="Content Placeholder 3"/>
          <p:cNvSpPr>
            <a:spLocks noGrp="1"/>
          </p:cNvSpPr>
          <p:nvPr>
            <p:ph idx="1"/>
          </p:nvPr>
        </p:nvSpPr>
        <p:spPr/>
        <p:txBody>
          <a:bodyPr/>
          <a:lstStyle/>
          <a:p>
            <a:endParaRPr lang="en-US"/>
          </a:p>
        </p:txBody>
      </p:sp>
      <p:pic>
        <p:nvPicPr>
          <p:cNvPr id="28674"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43840" y="1386840"/>
            <a:ext cx="8442960" cy="470916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654656378"/>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5" name="Rectangle 2"/>
          <p:cNvSpPr>
            <a:spLocks noGrp="1" noChangeArrowheads="1"/>
          </p:cNvSpPr>
          <p:nvPr>
            <p:ph type="title"/>
          </p:nvPr>
        </p:nvSpPr>
        <p:spPr/>
        <p:txBody>
          <a:bodyPr/>
          <a:lstStyle/>
          <a:p>
            <a:r>
              <a:rPr lang="en-US" dirty="0"/>
              <a:t>AT USER-COMMAND</a:t>
            </a:r>
            <a:endParaRPr lang="en-US" altLang="en-US" dirty="0"/>
          </a:p>
        </p:txBody>
      </p:sp>
      <p:sp>
        <p:nvSpPr>
          <p:cNvPr id="38914" name="Rectangle 3"/>
          <p:cNvSpPr>
            <a:spLocks noGrp="1" noChangeArrowheads="1"/>
          </p:cNvSpPr>
          <p:nvPr>
            <p:ph idx="1"/>
          </p:nvPr>
        </p:nvSpPr>
        <p:spPr/>
        <p:txBody>
          <a:bodyPr/>
          <a:lstStyle/>
          <a:p>
            <a:r>
              <a:rPr lang="en-US" sz="2000" dirty="0"/>
              <a:t>If the report has a custom GUI and the user selects a menu option, the event AT USER-COMMAND is triggered. The function code assigned to the menu option can be evaluated using a CASE construct to determine which menu option was selected. </a:t>
            </a:r>
          </a:p>
          <a:p>
            <a:pPr lvl="0">
              <a:defRPr/>
            </a:pPr>
            <a:r>
              <a:rPr lang="en-US" sz="2000" dirty="0"/>
              <a:t>All other function codes are either intercepted by the runtime environment or trigger the event  AT USER-COMMAND.</a:t>
            </a:r>
          </a:p>
          <a:p>
            <a:pPr marL="0" lvl="0" indent="0" defTabSz="457200">
              <a:lnSpc>
                <a:spcPct val="100000"/>
              </a:lnSpc>
              <a:spcBef>
                <a:spcPct val="20000"/>
              </a:spcBef>
              <a:spcAft>
                <a:spcPts val="0"/>
              </a:spcAft>
              <a:buClrTx/>
              <a:buNone/>
              <a:defRPr/>
            </a:pPr>
            <a:r>
              <a:rPr lang="en-US" sz="1800" dirty="0">
                <a:solidFill>
                  <a:schemeClr val="tx1"/>
                </a:solidFill>
                <a:cs typeface="Arial"/>
              </a:rPr>
              <a:t>	</a:t>
            </a:r>
          </a:p>
          <a:p>
            <a:endParaRPr lang="en-US" altLang="en-US" sz="1800" dirty="0">
              <a:solidFill>
                <a:schemeClr val="tx1"/>
              </a:solidFill>
            </a:endParaRPr>
          </a:p>
        </p:txBody>
      </p:sp>
      <p:pic>
        <p:nvPicPr>
          <p:cNvPr id="19458"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124200" y="3363102"/>
            <a:ext cx="5733143" cy="3034728"/>
          </a:xfrm>
          <a:prstGeom prst="rect">
            <a:avLst/>
          </a:prstGeom>
          <a:noFill/>
          <a:ln w="952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spTree>
    <p:extLst>
      <p:ext uri="{BB962C8B-B14F-4D97-AF65-F5344CB8AC3E}">
        <p14:creationId xmlns:p14="http://schemas.microsoft.com/office/powerpoint/2010/main" val="1007722441"/>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5" name="Rectangle 2"/>
          <p:cNvSpPr>
            <a:spLocks noGrp="1" noChangeArrowheads="1"/>
          </p:cNvSpPr>
          <p:nvPr>
            <p:ph type="title"/>
          </p:nvPr>
        </p:nvSpPr>
        <p:spPr/>
        <p:txBody>
          <a:bodyPr/>
          <a:lstStyle/>
          <a:p>
            <a:r>
              <a:rPr lang="en-US" dirty="0"/>
              <a:t>AT USER-COMMAND</a:t>
            </a:r>
            <a:endParaRPr lang="en-US" altLang="en-US" dirty="0"/>
          </a:p>
        </p:txBody>
      </p:sp>
      <p:sp>
        <p:nvSpPr>
          <p:cNvPr id="38914" name="Rectangle 3"/>
          <p:cNvSpPr>
            <a:spLocks noGrp="1" noChangeArrowheads="1"/>
          </p:cNvSpPr>
          <p:nvPr>
            <p:ph idx="1"/>
          </p:nvPr>
        </p:nvSpPr>
        <p:spPr/>
        <p:txBody>
          <a:bodyPr/>
          <a:lstStyle/>
          <a:p>
            <a:pPr marL="52388" indent="0">
              <a:defRPr/>
            </a:pPr>
            <a:r>
              <a:rPr lang="en-US" dirty="0"/>
              <a:t>Function codes that trigger AT USER-COMMAND must be defined in the own GUI status.</a:t>
            </a:r>
          </a:p>
          <a:p>
            <a:pPr marL="52388" lvl="0" indent="0">
              <a:defRPr/>
            </a:pPr>
            <a:r>
              <a:rPr lang="en-US" dirty="0"/>
              <a:t>GUI status for lists can be defined and attached to list level using</a:t>
            </a:r>
          </a:p>
          <a:p>
            <a:pPr marL="52388" lvl="1" indent="0">
              <a:defRPr/>
            </a:pPr>
            <a:r>
              <a:rPr lang="en-US" dirty="0"/>
              <a:t>  SET  PF-STATUS in executable program.</a:t>
            </a:r>
          </a:p>
          <a:p>
            <a:pPr marL="52388" lvl="0" indent="0">
              <a:defRPr/>
            </a:pPr>
            <a:endParaRPr lang="en-US" dirty="0"/>
          </a:p>
          <a:p>
            <a:pPr marL="52388" lvl="0" indent="0">
              <a:defRPr/>
            </a:pPr>
            <a:r>
              <a:rPr lang="en-US" dirty="0"/>
              <a:t> Function codes are used for this purpose and they will be </a:t>
            </a:r>
          </a:p>
          <a:p>
            <a:pPr marL="52388" lvl="0" indent="0">
              <a:buNone/>
              <a:defRPr/>
            </a:pPr>
            <a:r>
              <a:rPr lang="en-US" dirty="0"/>
              <a:t>   maintained in the GUI status of the list screen.</a:t>
            </a:r>
          </a:p>
          <a:p>
            <a:pPr marL="52388" lvl="0" indent="0">
              <a:defRPr/>
            </a:pPr>
            <a:endParaRPr lang="en-US" dirty="0"/>
          </a:p>
          <a:p>
            <a:pPr marL="52388" lvl="0" indent="0">
              <a:defRPr/>
            </a:pPr>
            <a:r>
              <a:rPr lang="en-US" dirty="0"/>
              <a:t>The GUI status will be maintained in Menu Painter tool in the ABAP Workbench.</a:t>
            </a:r>
          </a:p>
          <a:p>
            <a:pPr marL="52388" lvl="0" indent="0">
              <a:defRPr/>
            </a:pPr>
            <a:endParaRPr lang="en-US" dirty="0"/>
          </a:p>
          <a:p>
            <a:pPr marL="52388" lvl="0" indent="0">
              <a:defRPr/>
            </a:pPr>
            <a:r>
              <a:rPr lang="en-US" dirty="0"/>
              <a:t>The system assigns function codes to user actions that are list-specific</a:t>
            </a:r>
            <a:r>
              <a:rPr lang="en-US" sz="1800" dirty="0">
                <a:solidFill>
                  <a:schemeClr val="tx1"/>
                </a:solidFill>
                <a:cs typeface="Arial"/>
              </a:rPr>
              <a:t>.</a:t>
            </a:r>
          </a:p>
          <a:p>
            <a:pPr marL="0" lvl="0" indent="0" defTabSz="457200">
              <a:lnSpc>
                <a:spcPct val="100000"/>
              </a:lnSpc>
              <a:spcBef>
                <a:spcPct val="20000"/>
              </a:spcBef>
              <a:spcAft>
                <a:spcPts val="0"/>
              </a:spcAft>
              <a:buClrTx/>
              <a:buNone/>
              <a:defRPr/>
            </a:pPr>
            <a:endParaRPr lang="en-US" sz="1800" dirty="0">
              <a:solidFill>
                <a:schemeClr val="tx1"/>
              </a:solidFill>
              <a:cs typeface="Arial"/>
            </a:endParaRPr>
          </a:p>
          <a:p>
            <a:pPr lvl="0" defTabSz="457200">
              <a:lnSpc>
                <a:spcPct val="100000"/>
              </a:lnSpc>
              <a:spcBef>
                <a:spcPct val="20000"/>
              </a:spcBef>
              <a:spcAft>
                <a:spcPts val="0"/>
              </a:spcAft>
              <a:buClrTx/>
              <a:defRPr/>
            </a:pPr>
            <a:endParaRPr lang="en-US" sz="1800" dirty="0">
              <a:solidFill>
                <a:schemeClr val="tx1"/>
              </a:solidFill>
              <a:cs typeface="Arial"/>
            </a:endParaRPr>
          </a:p>
          <a:p>
            <a:pPr lvl="0" defTabSz="457200">
              <a:lnSpc>
                <a:spcPct val="100000"/>
              </a:lnSpc>
              <a:spcBef>
                <a:spcPct val="20000"/>
              </a:spcBef>
              <a:spcAft>
                <a:spcPts val="0"/>
              </a:spcAft>
              <a:buClrTx/>
              <a:defRPr/>
            </a:pPr>
            <a:endParaRPr lang="en-US" sz="1800" dirty="0">
              <a:solidFill>
                <a:schemeClr val="tx1"/>
              </a:solidFill>
              <a:cs typeface="Arial"/>
            </a:endParaRPr>
          </a:p>
          <a:p>
            <a:pPr eaLnBrk="1" hangingPunct="1">
              <a:buFontTx/>
              <a:buNone/>
            </a:pPr>
            <a:endParaRPr lang="en-US" altLang="en-US" sz="1800" dirty="0">
              <a:solidFill>
                <a:schemeClr val="tx1"/>
              </a:solidFill>
            </a:endParaRPr>
          </a:p>
        </p:txBody>
      </p:sp>
    </p:spTree>
    <p:extLst>
      <p:ext uri="{BB962C8B-B14F-4D97-AF65-F5344CB8AC3E}">
        <p14:creationId xmlns:p14="http://schemas.microsoft.com/office/powerpoint/2010/main" val="2805356692"/>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5" name="Rectangle 2"/>
          <p:cNvSpPr>
            <a:spLocks noGrp="1" noChangeArrowheads="1"/>
          </p:cNvSpPr>
          <p:nvPr>
            <p:ph type="title"/>
          </p:nvPr>
        </p:nvSpPr>
        <p:spPr/>
        <p:txBody>
          <a:bodyPr/>
          <a:lstStyle/>
          <a:p>
            <a:pPr lvl="0" defTabSz="457200">
              <a:lnSpc>
                <a:spcPct val="100000"/>
              </a:lnSpc>
              <a:defRPr/>
            </a:pPr>
            <a:r>
              <a:rPr lang="en-US" dirty="0">
                <a:cs typeface="Arial"/>
              </a:rPr>
              <a:t>Dialog Status and Title in program</a:t>
            </a:r>
          </a:p>
        </p:txBody>
      </p:sp>
      <p:sp>
        <p:nvSpPr>
          <p:cNvPr id="38914" name="Rectangle 3"/>
          <p:cNvSpPr>
            <a:spLocks noGrp="1" noChangeArrowheads="1"/>
          </p:cNvSpPr>
          <p:nvPr>
            <p:ph idx="1"/>
          </p:nvPr>
        </p:nvSpPr>
        <p:spPr/>
        <p:txBody>
          <a:bodyPr/>
          <a:lstStyle/>
          <a:p>
            <a:pPr marL="233363" lvl="1" defTabSz="457200">
              <a:lnSpc>
                <a:spcPct val="100000"/>
              </a:lnSpc>
              <a:spcBef>
                <a:spcPct val="20000"/>
              </a:spcBef>
              <a:spcAft>
                <a:spcPts val="0"/>
              </a:spcAft>
              <a:buClr>
                <a:schemeClr val="tx1">
                  <a:lumMod val="50000"/>
                  <a:lumOff val="50000"/>
                </a:schemeClr>
              </a:buClr>
              <a:defRPr/>
            </a:pPr>
            <a:r>
              <a:rPr lang="en-US" sz="2200" dirty="0"/>
              <a:t>Setting a Dialog-Status</a:t>
            </a:r>
            <a:br>
              <a:rPr lang="en-US" sz="2200" b="1" dirty="0">
                <a:solidFill>
                  <a:schemeClr val="tx1"/>
                </a:solidFill>
                <a:cs typeface="Arial"/>
              </a:rPr>
            </a:br>
            <a:r>
              <a:rPr lang="en-US" dirty="0">
                <a:solidFill>
                  <a:schemeClr val="tx1"/>
                </a:solidFill>
              </a:rPr>
              <a:t>SET PF-STATUS &lt;stat&gt; [EXCLUDING &lt;f&gt;|&lt;itab&gt;] </a:t>
            </a:r>
            <a:br>
              <a:rPr lang="en-US" dirty="0">
                <a:solidFill>
                  <a:schemeClr val="tx1"/>
                </a:solidFill>
              </a:rPr>
            </a:br>
            <a:r>
              <a:rPr lang="en-US" dirty="0">
                <a:solidFill>
                  <a:schemeClr val="tx1"/>
                </a:solidFill>
              </a:rPr>
              <a:t>                     [OF PROGRAM &lt;prog&gt;].                     </a:t>
            </a:r>
          </a:p>
          <a:p>
            <a:pPr lvl="1">
              <a:defRPr/>
            </a:pPr>
            <a:r>
              <a:rPr lang="en-US" dirty="0"/>
              <a:t>This statement sets the status &lt;stat&gt; for the current output list.</a:t>
            </a:r>
          </a:p>
          <a:p>
            <a:pPr lvl="1">
              <a:defRPr/>
            </a:pPr>
            <a:r>
              <a:rPr lang="en-US" dirty="0"/>
              <a:t>SET PF-STATUS SPACE is used  to set the standard list status.</a:t>
            </a:r>
          </a:p>
          <a:p>
            <a:pPr>
              <a:defRPr/>
            </a:pPr>
            <a:r>
              <a:rPr lang="en-US" dirty="0"/>
              <a:t>Setting a Title for a List</a:t>
            </a:r>
          </a:p>
          <a:p>
            <a:pPr marL="231775" lvl="0" indent="-231775" defTabSz="457200">
              <a:lnSpc>
                <a:spcPct val="100000"/>
              </a:lnSpc>
              <a:spcBef>
                <a:spcPct val="20000"/>
              </a:spcBef>
              <a:spcAft>
                <a:spcPts val="0"/>
              </a:spcAft>
              <a:buClrTx/>
              <a:buNone/>
              <a:defRPr/>
            </a:pPr>
            <a:r>
              <a:rPr lang="en-US" sz="2000" dirty="0">
                <a:solidFill>
                  <a:schemeClr val="tx1"/>
                </a:solidFill>
                <a:cs typeface="Arial"/>
              </a:rPr>
              <a:t>     		SET TITLEBAR &lt;ttl&gt; [WITH &lt;g1&gt; ... &lt;g9&gt;]</a:t>
            </a:r>
            <a:br>
              <a:rPr lang="en-US" sz="2000" dirty="0">
                <a:solidFill>
                  <a:schemeClr val="tx1"/>
                </a:solidFill>
                <a:cs typeface="Arial"/>
              </a:rPr>
            </a:br>
            <a:r>
              <a:rPr lang="en-US" sz="2000" dirty="0">
                <a:solidFill>
                  <a:schemeClr val="tx1"/>
                </a:solidFill>
                <a:cs typeface="Arial"/>
              </a:rPr>
              <a:t>                   [OF PROGRAM &lt;prog&gt;].</a:t>
            </a:r>
          </a:p>
          <a:p>
            <a:pPr lvl="1">
              <a:defRPr/>
            </a:pPr>
            <a:r>
              <a:rPr lang="en-US" dirty="0"/>
              <a:t>The above statement will set the title of the user interface for the output list.</a:t>
            </a:r>
          </a:p>
          <a:p>
            <a:pPr lvl="1">
              <a:defRPr/>
            </a:pPr>
            <a:r>
              <a:rPr lang="en-US" dirty="0"/>
              <a:t>This will remain active for all screens until another SET TITLEBAR is specified.</a:t>
            </a:r>
          </a:p>
          <a:p>
            <a:pPr marL="742950" lvl="1" indent="-285750" defTabSz="457200">
              <a:lnSpc>
                <a:spcPct val="100000"/>
              </a:lnSpc>
              <a:spcBef>
                <a:spcPct val="20000"/>
              </a:spcBef>
              <a:spcAft>
                <a:spcPts val="0"/>
              </a:spcAft>
              <a:buClrTx/>
              <a:buFont typeface="Arial"/>
              <a:buChar char="–"/>
              <a:defRPr/>
            </a:pPr>
            <a:endParaRPr lang="en-US" dirty="0">
              <a:solidFill>
                <a:schemeClr val="tx1"/>
              </a:solidFill>
            </a:endParaRPr>
          </a:p>
          <a:p>
            <a:pPr marL="231775" lvl="0" indent="-231775" defTabSz="457200">
              <a:lnSpc>
                <a:spcPct val="100000"/>
              </a:lnSpc>
              <a:spcBef>
                <a:spcPct val="20000"/>
              </a:spcBef>
              <a:spcAft>
                <a:spcPts val="0"/>
              </a:spcAft>
              <a:buClrTx/>
              <a:buFont typeface="Arial"/>
              <a:buChar char="•"/>
              <a:defRPr/>
            </a:pPr>
            <a:endParaRPr lang="en-US" sz="2000" dirty="0">
              <a:solidFill>
                <a:schemeClr val="tx1"/>
              </a:solidFill>
              <a:cs typeface="Arial"/>
            </a:endParaRPr>
          </a:p>
          <a:p>
            <a:pPr marL="231775" indent="-231775" defTabSz="457200">
              <a:lnSpc>
                <a:spcPct val="100000"/>
              </a:lnSpc>
              <a:spcBef>
                <a:spcPct val="20000"/>
              </a:spcBef>
              <a:spcAft>
                <a:spcPts val="0"/>
              </a:spcAft>
              <a:buClrTx/>
              <a:buFont typeface="Arial"/>
              <a:buChar char="•"/>
              <a:defRPr/>
            </a:pPr>
            <a:endParaRPr lang="en-US" sz="2000" b="1" dirty="0">
              <a:solidFill>
                <a:schemeClr val="tx1"/>
              </a:solidFill>
              <a:cs typeface="Arial"/>
            </a:endParaRPr>
          </a:p>
          <a:p>
            <a:pPr marL="231775" lvl="0" indent="-231775" defTabSz="457200">
              <a:lnSpc>
                <a:spcPct val="100000"/>
              </a:lnSpc>
              <a:spcBef>
                <a:spcPct val="20000"/>
              </a:spcBef>
              <a:spcAft>
                <a:spcPts val="0"/>
              </a:spcAft>
              <a:buClrTx/>
              <a:buFont typeface="Arial"/>
              <a:buChar char="•"/>
              <a:defRPr/>
            </a:pPr>
            <a:endParaRPr lang="en-US" sz="2000" dirty="0">
              <a:solidFill>
                <a:schemeClr val="tx1"/>
              </a:solidFill>
              <a:cs typeface="Arial"/>
            </a:endParaRPr>
          </a:p>
          <a:p>
            <a:pPr eaLnBrk="1" hangingPunct="1">
              <a:buFontTx/>
              <a:buNone/>
            </a:pPr>
            <a:endParaRPr lang="en-US" altLang="en-US" sz="1800" dirty="0">
              <a:solidFill>
                <a:schemeClr val="tx1"/>
              </a:solidFill>
            </a:endParaRPr>
          </a:p>
        </p:txBody>
      </p:sp>
    </p:spTree>
    <p:extLst>
      <p:ext uri="{BB962C8B-B14F-4D97-AF65-F5344CB8AC3E}">
        <p14:creationId xmlns:p14="http://schemas.microsoft.com/office/powerpoint/2010/main" val="1860124313"/>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5" name="Rectangle 2"/>
          <p:cNvSpPr>
            <a:spLocks noGrp="1" noChangeArrowheads="1"/>
          </p:cNvSpPr>
          <p:nvPr>
            <p:ph type="title"/>
          </p:nvPr>
        </p:nvSpPr>
        <p:spPr/>
        <p:txBody>
          <a:bodyPr>
            <a:normAutofit fontScale="90000"/>
          </a:bodyPr>
          <a:lstStyle/>
          <a:p>
            <a:pPr lvl="0"/>
            <a:br>
              <a:rPr lang="en-US" dirty="0">
                <a:cs typeface="Arial"/>
              </a:rPr>
            </a:br>
            <a:r>
              <a:rPr lang="en-US" sz="3100" dirty="0">
                <a:cs typeface="Arial"/>
              </a:rPr>
              <a:t>Menu Painter</a:t>
            </a:r>
            <a:br>
              <a:rPr lang="en-US" dirty="0">
                <a:cs typeface="Arial"/>
              </a:rPr>
            </a:br>
            <a:endParaRPr lang="en-US" altLang="en-US" dirty="0"/>
          </a:p>
        </p:txBody>
      </p:sp>
      <p:sp>
        <p:nvSpPr>
          <p:cNvPr id="38914" name="Rectangle 3"/>
          <p:cNvSpPr>
            <a:spLocks noGrp="1" noChangeArrowheads="1"/>
          </p:cNvSpPr>
          <p:nvPr>
            <p:ph idx="1"/>
          </p:nvPr>
        </p:nvSpPr>
        <p:spPr>
          <a:xfrm>
            <a:off x="174171" y="1353251"/>
            <a:ext cx="8845484" cy="4643751"/>
          </a:xfrm>
        </p:spPr>
        <p:txBody>
          <a:bodyPr/>
          <a:lstStyle/>
          <a:p>
            <a:pPr lvl="1">
              <a:defRPr/>
            </a:pPr>
            <a:r>
              <a:rPr lang="en-US" dirty="0"/>
              <a:t>It is a tool used to design the user interfaces for ABAP Programs.</a:t>
            </a:r>
          </a:p>
          <a:p>
            <a:pPr lvl="1">
              <a:defRPr/>
            </a:pPr>
            <a:r>
              <a:rPr lang="en-US" dirty="0"/>
              <a:t>The GUI status will be maintained in Menu Painter tool in the ABAP Workbench</a:t>
            </a:r>
          </a:p>
          <a:p>
            <a:pPr lvl="1">
              <a:defRPr/>
            </a:pPr>
            <a:r>
              <a:rPr lang="en-US" dirty="0"/>
              <a:t>GUI status means, the instance of the interface consisting of menu bar, a standard toolbar, an application toolbar, and a function key setting.</a:t>
            </a:r>
          </a:p>
          <a:p>
            <a:pPr lvl="1">
              <a:defRPr/>
            </a:pPr>
            <a:endParaRPr lang="en-US" dirty="0"/>
          </a:p>
          <a:p>
            <a:pPr lvl="1">
              <a:defRPr/>
            </a:pPr>
            <a:r>
              <a:rPr lang="en-US" dirty="0"/>
              <a:t>The GUI status and GUI </a:t>
            </a:r>
          </a:p>
          <a:p>
            <a:pPr marL="684168" lvl="2" indent="-285750">
              <a:defRPr/>
            </a:pPr>
            <a:r>
              <a:rPr lang="en-US" dirty="0"/>
              <a:t>title defines how the user </a:t>
            </a:r>
          </a:p>
          <a:p>
            <a:pPr marL="684168" lvl="2" indent="-285750">
              <a:defRPr/>
            </a:pPr>
            <a:r>
              <a:rPr lang="en-US" dirty="0"/>
              <a:t>interface will look and</a:t>
            </a:r>
          </a:p>
          <a:p>
            <a:pPr marL="684168" lvl="2" indent="-285750">
              <a:defRPr/>
            </a:pPr>
            <a:r>
              <a:rPr lang="en-US" dirty="0"/>
              <a:t>behave in an ABAP program.</a:t>
            </a:r>
          </a:p>
          <a:p>
            <a:pPr marL="638082" lvl="3" indent="-171450">
              <a:buFont typeface="Arial" panose="020B0604020202020204" pitchFamily="34" charset="0"/>
              <a:buChar char="•"/>
              <a:defRPr/>
            </a:pPr>
            <a:r>
              <a:rPr lang="en-US" dirty="0"/>
              <a:t>T-CODE  SE41.</a:t>
            </a:r>
          </a:p>
          <a:p>
            <a:pPr marL="0" lvl="0" indent="0" defTabSz="457200">
              <a:lnSpc>
                <a:spcPct val="100000"/>
              </a:lnSpc>
              <a:spcBef>
                <a:spcPct val="20000"/>
              </a:spcBef>
              <a:spcAft>
                <a:spcPts val="0"/>
              </a:spcAft>
              <a:buClrTx/>
              <a:buNone/>
              <a:defRPr/>
            </a:pPr>
            <a:endParaRPr lang="en-US" sz="2000" dirty="0">
              <a:solidFill>
                <a:schemeClr val="tx1"/>
              </a:solidFill>
              <a:cs typeface="Arial"/>
            </a:endParaRPr>
          </a:p>
          <a:p>
            <a:pPr marL="231775" lvl="0" indent="-231775" defTabSz="457200">
              <a:lnSpc>
                <a:spcPct val="100000"/>
              </a:lnSpc>
              <a:spcBef>
                <a:spcPct val="20000"/>
              </a:spcBef>
              <a:spcAft>
                <a:spcPts val="0"/>
              </a:spcAft>
              <a:buClrTx/>
              <a:buFont typeface="Arial"/>
              <a:buChar char="•"/>
              <a:defRPr/>
            </a:pPr>
            <a:endParaRPr lang="en-US" sz="2000" dirty="0">
              <a:solidFill>
                <a:schemeClr val="tx1"/>
              </a:solidFill>
              <a:cs typeface="Arial"/>
            </a:endParaRPr>
          </a:p>
          <a:p>
            <a:pPr marL="231775" lvl="0" indent="-231775" defTabSz="457200">
              <a:lnSpc>
                <a:spcPct val="100000"/>
              </a:lnSpc>
              <a:spcBef>
                <a:spcPct val="20000"/>
              </a:spcBef>
              <a:spcAft>
                <a:spcPts val="0"/>
              </a:spcAft>
              <a:buClrTx/>
              <a:buFont typeface="Arial"/>
              <a:buChar char="•"/>
              <a:defRPr/>
            </a:pPr>
            <a:endParaRPr lang="en-US" sz="2000" dirty="0">
              <a:solidFill>
                <a:schemeClr val="tx1"/>
              </a:solidFill>
              <a:cs typeface="Arial"/>
            </a:endParaRPr>
          </a:p>
          <a:p>
            <a:pPr eaLnBrk="1" hangingPunct="1">
              <a:buFontTx/>
              <a:buNone/>
            </a:pPr>
            <a:endParaRPr lang="en-US" altLang="en-US" sz="1800" dirty="0">
              <a:solidFill>
                <a:schemeClr val="tx1"/>
              </a:solidFill>
            </a:endParaRPr>
          </a:p>
        </p:txBody>
      </p:sp>
      <p:pic>
        <p:nvPicPr>
          <p:cNvPr id="5"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686629" y="2640029"/>
            <a:ext cx="5283200" cy="3438833"/>
          </a:xfrm>
          <a:prstGeom prst="rect">
            <a:avLst/>
          </a:prstGeom>
          <a:noFill/>
          <a:ln w="952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spTree>
    <p:extLst>
      <p:ext uri="{BB962C8B-B14F-4D97-AF65-F5344CB8AC3E}">
        <p14:creationId xmlns:p14="http://schemas.microsoft.com/office/powerpoint/2010/main" val="1860124313"/>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5" name="Rectangle 2"/>
          <p:cNvSpPr>
            <a:spLocks noGrp="1" noChangeArrowheads="1"/>
          </p:cNvSpPr>
          <p:nvPr>
            <p:ph type="title"/>
          </p:nvPr>
        </p:nvSpPr>
        <p:spPr/>
        <p:txBody>
          <a:bodyPr>
            <a:normAutofit fontScale="90000"/>
          </a:bodyPr>
          <a:lstStyle/>
          <a:p>
            <a:br>
              <a:rPr lang="en-US" dirty="0">
                <a:cs typeface="Arial"/>
              </a:rPr>
            </a:br>
            <a:r>
              <a:rPr lang="en-US" sz="2900" dirty="0">
                <a:cs typeface="Arial"/>
              </a:rPr>
              <a:t>Menu Painter</a:t>
            </a:r>
            <a:br>
              <a:rPr lang="en-US" dirty="0">
                <a:cs typeface="Arial"/>
              </a:rPr>
            </a:br>
            <a:endParaRPr lang="en-US" altLang="en-US" dirty="0"/>
          </a:p>
        </p:txBody>
      </p:sp>
      <p:sp>
        <p:nvSpPr>
          <p:cNvPr id="38914" name="Rectangle 3"/>
          <p:cNvSpPr>
            <a:spLocks noGrp="1" noChangeArrowheads="1"/>
          </p:cNvSpPr>
          <p:nvPr>
            <p:ph idx="1"/>
          </p:nvPr>
        </p:nvSpPr>
        <p:spPr/>
        <p:txBody>
          <a:bodyPr/>
          <a:lstStyle/>
          <a:p>
            <a:pPr lvl="0">
              <a:defRPr/>
            </a:pPr>
            <a:r>
              <a:rPr lang="en-US" dirty="0"/>
              <a:t>Menu Bar Consists  of the following the options. </a:t>
            </a:r>
          </a:p>
          <a:p>
            <a:pPr lvl="1">
              <a:defRPr/>
            </a:pPr>
            <a:r>
              <a:rPr lang="en-US" dirty="0"/>
              <a:t>Menu Bar</a:t>
            </a:r>
          </a:p>
          <a:p>
            <a:pPr lvl="1">
              <a:defRPr/>
            </a:pPr>
            <a:r>
              <a:rPr lang="en-US" dirty="0"/>
              <a:t>Application Toolbar</a:t>
            </a:r>
          </a:p>
          <a:p>
            <a:pPr lvl="1">
              <a:defRPr/>
            </a:pPr>
            <a:r>
              <a:rPr lang="en-US" dirty="0"/>
              <a:t>Function Keys</a:t>
            </a:r>
            <a:endParaRPr lang="en-US" altLang="en-US" dirty="0"/>
          </a:p>
        </p:txBody>
      </p:sp>
      <p:pic>
        <p:nvPicPr>
          <p:cNvPr id="2150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24113" y="3113424"/>
            <a:ext cx="8229601" cy="2975429"/>
          </a:xfrm>
          <a:prstGeom prst="rect">
            <a:avLst/>
          </a:prstGeom>
          <a:noFill/>
          <a:ln w="952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spTree>
    <p:extLst>
      <p:ext uri="{BB962C8B-B14F-4D97-AF65-F5344CB8AC3E}">
        <p14:creationId xmlns:p14="http://schemas.microsoft.com/office/powerpoint/2010/main" val="1860124313"/>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5" name="Rectangle 2"/>
          <p:cNvSpPr>
            <a:spLocks noGrp="1" noChangeArrowheads="1"/>
          </p:cNvSpPr>
          <p:nvPr>
            <p:ph type="title"/>
          </p:nvPr>
        </p:nvSpPr>
        <p:spPr/>
        <p:txBody>
          <a:bodyPr/>
          <a:lstStyle/>
          <a:p>
            <a:r>
              <a:rPr lang="en-US" dirty="0">
                <a:cs typeface="Arial"/>
              </a:rPr>
              <a:t>Menu Painter - Menu Bar</a:t>
            </a:r>
            <a:endParaRPr lang="en-US" altLang="en-US" dirty="0"/>
          </a:p>
        </p:txBody>
      </p:sp>
      <p:sp>
        <p:nvSpPr>
          <p:cNvPr id="38914" name="Rectangle 3"/>
          <p:cNvSpPr>
            <a:spLocks noGrp="1" noChangeArrowheads="1"/>
          </p:cNvSpPr>
          <p:nvPr>
            <p:ph idx="1"/>
          </p:nvPr>
        </p:nvSpPr>
        <p:spPr/>
        <p:txBody>
          <a:bodyPr/>
          <a:lstStyle/>
          <a:p>
            <a:pPr lvl="1">
              <a:defRPr/>
            </a:pPr>
            <a:r>
              <a:rPr lang="en-US" dirty="0"/>
              <a:t>A menu bar may contain six menus.</a:t>
            </a:r>
          </a:p>
          <a:p>
            <a:pPr lvl="1">
              <a:defRPr/>
            </a:pPr>
            <a:r>
              <a:rPr lang="en-US" dirty="0"/>
              <a:t>Two standard menus are added by default</a:t>
            </a:r>
          </a:p>
          <a:p>
            <a:pPr lvl="2">
              <a:defRPr/>
            </a:pPr>
            <a:r>
              <a:rPr lang="en-US" dirty="0"/>
              <a:t>System </a:t>
            </a:r>
          </a:p>
          <a:p>
            <a:pPr lvl="2">
              <a:defRPr/>
            </a:pPr>
            <a:r>
              <a:rPr lang="en-US" dirty="0"/>
              <a:t>Help</a:t>
            </a:r>
          </a:p>
          <a:p>
            <a:pPr lvl="1">
              <a:defRPr/>
            </a:pPr>
            <a:r>
              <a:rPr lang="en-US" dirty="0"/>
              <a:t>The two menus are displayed at the right-hand end of the menu bar</a:t>
            </a:r>
          </a:p>
        </p:txBody>
      </p:sp>
      <p:pic>
        <p:nvPicPr>
          <p:cNvPr id="2253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78780" y="3246888"/>
            <a:ext cx="7450818" cy="2047875"/>
          </a:xfrm>
          <a:prstGeom prst="rect">
            <a:avLst/>
          </a:prstGeom>
          <a:noFill/>
          <a:ln w="952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spTree>
    <p:extLst>
      <p:ext uri="{BB962C8B-B14F-4D97-AF65-F5344CB8AC3E}">
        <p14:creationId xmlns:p14="http://schemas.microsoft.com/office/powerpoint/2010/main" val="1860124313"/>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5" name="Rectangle 2"/>
          <p:cNvSpPr>
            <a:spLocks noGrp="1" noChangeArrowheads="1"/>
          </p:cNvSpPr>
          <p:nvPr>
            <p:ph type="title"/>
          </p:nvPr>
        </p:nvSpPr>
        <p:spPr/>
        <p:txBody>
          <a:bodyPr>
            <a:normAutofit fontScale="90000"/>
          </a:bodyPr>
          <a:lstStyle/>
          <a:p>
            <a:pPr lvl="0"/>
            <a:br>
              <a:rPr lang="en-US" dirty="0"/>
            </a:br>
            <a:r>
              <a:rPr lang="en-US" sz="2900" dirty="0">
                <a:cs typeface="Arial"/>
              </a:rPr>
              <a:t>Menu Painter - Application Toolbar</a:t>
            </a:r>
            <a:br>
              <a:rPr lang="en-US" dirty="0">
                <a:cs typeface="Arial"/>
              </a:rPr>
            </a:br>
            <a:endParaRPr lang="en-US" altLang="en-US" dirty="0"/>
          </a:p>
        </p:txBody>
      </p:sp>
      <p:sp>
        <p:nvSpPr>
          <p:cNvPr id="38914" name="Rectangle 3"/>
          <p:cNvSpPr>
            <a:spLocks noGrp="1" noChangeArrowheads="1"/>
          </p:cNvSpPr>
          <p:nvPr>
            <p:ph idx="1"/>
          </p:nvPr>
        </p:nvSpPr>
        <p:spPr/>
        <p:txBody>
          <a:bodyPr/>
          <a:lstStyle/>
          <a:p>
            <a:pPr lvl="1">
              <a:defRPr/>
            </a:pPr>
            <a:r>
              <a:rPr lang="en-US" dirty="0"/>
              <a:t>A function to a function key must be assigned before it can be  included in the application toolbar.</a:t>
            </a:r>
          </a:p>
          <a:p>
            <a:pPr lvl="1">
              <a:defRPr/>
            </a:pPr>
            <a:r>
              <a:rPr lang="en-US" dirty="0"/>
              <a:t>A maximum of  35 pushbuttons in the application toolbar can be included. </a:t>
            </a:r>
          </a:p>
          <a:p>
            <a:pPr lvl="1">
              <a:defRPr/>
            </a:pPr>
            <a:r>
              <a:rPr lang="en-US" dirty="0"/>
              <a:t>Application toolbar functions contains</a:t>
            </a:r>
          </a:p>
          <a:p>
            <a:pPr lvl="2">
              <a:defRPr/>
            </a:pPr>
            <a:r>
              <a:rPr lang="en-US" dirty="0"/>
              <a:t>Icon </a:t>
            </a:r>
          </a:p>
          <a:p>
            <a:pPr lvl="2">
              <a:defRPr/>
            </a:pPr>
            <a:r>
              <a:rPr lang="en-US" dirty="0"/>
              <a:t>Text  or</a:t>
            </a:r>
          </a:p>
          <a:p>
            <a:pPr lvl="2">
              <a:defRPr/>
            </a:pPr>
            <a:r>
              <a:rPr lang="en-US" dirty="0"/>
              <a:t>Both Icon and Text </a:t>
            </a:r>
          </a:p>
          <a:p>
            <a:pPr eaLnBrk="1" hangingPunct="1">
              <a:buFontTx/>
              <a:buNone/>
            </a:pPr>
            <a:endParaRPr lang="en-US" altLang="en-US" sz="1800" dirty="0">
              <a:solidFill>
                <a:schemeClr val="tx1"/>
              </a:solidFill>
            </a:endParaRPr>
          </a:p>
        </p:txBody>
      </p:sp>
      <p:pic>
        <p:nvPicPr>
          <p:cNvPr id="23554"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124200" y="2879677"/>
            <a:ext cx="5847670" cy="3297506"/>
          </a:xfrm>
          <a:prstGeom prst="rect">
            <a:avLst/>
          </a:prstGeom>
          <a:noFill/>
          <a:ln w="952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spTree>
    <p:extLst>
      <p:ext uri="{BB962C8B-B14F-4D97-AF65-F5344CB8AC3E}">
        <p14:creationId xmlns:p14="http://schemas.microsoft.com/office/powerpoint/2010/main" val="1860124313"/>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5" name="Rectangle 2"/>
          <p:cNvSpPr>
            <a:spLocks noGrp="1" noChangeArrowheads="1"/>
          </p:cNvSpPr>
          <p:nvPr>
            <p:ph type="title"/>
          </p:nvPr>
        </p:nvSpPr>
        <p:spPr/>
        <p:txBody>
          <a:bodyPr/>
          <a:lstStyle/>
          <a:p>
            <a:r>
              <a:rPr lang="en-US" dirty="0">
                <a:cs typeface="Arial"/>
              </a:rPr>
              <a:t>Menu Painter - F</a:t>
            </a:r>
            <a:r>
              <a:rPr lang="en-US" dirty="0"/>
              <a:t>unction Keys</a:t>
            </a:r>
            <a:endParaRPr lang="en-US" altLang="en-US" dirty="0"/>
          </a:p>
        </p:txBody>
      </p:sp>
      <p:sp>
        <p:nvSpPr>
          <p:cNvPr id="38914" name="Rectangle 3"/>
          <p:cNvSpPr>
            <a:spLocks noGrp="1" noChangeArrowheads="1"/>
          </p:cNvSpPr>
          <p:nvPr>
            <p:ph idx="1"/>
          </p:nvPr>
        </p:nvSpPr>
        <p:spPr/>
        <p:txBody>
          <a:bodyPr/>
          <a:lstStyle/>
          <a:p>
            <a:pPr lvl="0">
              <a:defRPr/>
            </a:pPr>
            <a:r>
              <a:rPr lang="en-US" dirty="0"/>
              <a:t>A function keys contain the.</a:t>
            </a:r>
          </a:p>
          <a:p>
            <a:pPr lvl="2">
              <a:defRPr/>
            </a:pPr>
            <a:r>
              <a:rPr lang="en-US" altLang="en-US" dirty="0"/>
              <a:t>Standard Toolbar.</a:t>
            </a:r>
          </a:p>
          <a:p>
            <a:pPr lvl="2">
              <a:defRPr/>
            </a:pPr>
            <a:r>
              <a:rPr lang="en-US" altLang="en-US" dirty="0"/>
              <a:t>Recommended Function Key Settings.</a:t>
            </a:r>
          </a:p>
          <a:p>
            <a:pPr lvl="2">
              <a:defRPr/>
            </a:pPr>
            <a:r>
              <a:rPr lang="en-US" altLang="en-US" dirty="0"/>
              <a:t>Freely Assigned Function Keys.</a:t>
            </a:r>
          </a:p>
          <a:p>
            <a:pPr eaLnBrk="1" hangingPunct="1">
              <a:buFontTx/>
              <a:buNone/>
            </a:pPr>
            <a:endParaRPr lang="en-US" altLang="en-US" sz="1800" dirty="0"/>
          </a:p>
        </p:txBody>
      </p:sp>
      <p:pic>
        <p:nvPicPr>
          <p:cNvPr id="24578"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40222" y="2954634"/>
            <a:ext cx="7924809" cy="3149600"/>
          </a:xfrm>
          <a:prstGeom prst="rect">
            <a:avLst/>
          </a:prstGeom>
          <a:noFill/>
          <a:ln w="952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spTree>
    <p:extLst>
      <p:ext uri="{BB962C8B-B14F-4D97-AF65-F5344CB8AC3E}">
        <p14:creationId xmlns:p14="http://schemas.microsoft.com/office/powerpoint/2010/main" val="1860124313"/>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eview Question</a:t>
            </a:r>
          </a:p>
        </p:txBody>
      </p:sp>
      <p:sp>
        <p:nvSpPr>
          <p:cNvPr id="3" name="Content Placeholder 2"/>
          <p:cNvSpPr>
            <a:spLocks noGrp="1"/>
          </p:cNvSpPr>
          <p:nvPr>
            <p:ph idx="1"/>
          </p:nvPr>
        </p:nvSpPr>
        <p:spPr/>
        <p:txBody>
          <a:bodyPr/>
          <a:lstStyle/>
          <a:p>
            <a:r>
              <a:rPr lang="en-US" altLang="en-US" dirty="0"/>
              <a:t>Question 1. ______</a:t>
            </a:r>
            <a:r>
              <a:rPr lang="en-US" dirty="0"/>
              <a:t>event occurs before the standard selection screen is called.</a:t>
            </a:r>
            <a:endParaRPr lang="en-US" altLang="en-US" dirty="0"/>
          </a:p>
          <a:p>
            <a:r>
              <a:rPr lang="en-US" altLang="en-US" dirty="0"/>
              <a:t>Question 2: </a:t>
            </a:r>
            <a:r>
              <a:rPr lang="en-US" dirty="0"/>
              <a:t>The ____ keyword is used to store data objects.</a:t>
            </a:r>
            <a:endParaRPr lang="en-US" altLang="en-US" dirty="0">
              <a:ea typeface="Arial Unicode MS" panose="020B0604020202020204" pitchFamily="34" charset="-128"/>
              <a:cs typeface="Arial Unicode MS" panose="020B0604020202020204" pitchFamily="34" charset="-128"/>
            </a:endParaRPr>
          </a:p>
          <a:p>
            <a:r>
              <a:rPr lang="en-US" altLang="en-US" dirty="0">
                <a:ea typeface="Arial Unicode MS" panose="020B0604020202020204" pitchFamily="34" charset="-128"/>
                <a:cs typeface="Arial Unicode MS" panose="020B0604020202020204" pitchFamily="34" charset="-128"/>
              </a:rPr>
              <a:t>Question 3: _____</a:t>
            </a:r>
            <a:r>
              <a:rPr lang="en-US" dirty="0"/>
              <a:t> is a tool used to design the user interfaces for ABAP Programs.</a:t>
            </a:r>
            <a:endParaRPr lang="en-US" altLang="en-US" dirty="0"/>
          </a:p>
          <a:p>
            <a:endParaRPr lang="en-US" dirty="0"/>
          </a:p>
        </p:txBody>
      </p:sp>
    </p:spTree>
    <p:extLst>
      <p:ext uri="{BB962C8B-B14F-4D97-AF65-F5344CB8AC3E}">
        <p14:creationId xmlns:p14="http://schemas.microsoft.com/office/powerpoint/2010/main" val="158131957"/>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a:t>Summary</a:t>
            </a:r>
            <a:endParaRPr lang="en-US" sz="2400" dirty="0"/>
          </a:p>
        </p:txBody>
      </p:sp>
      <p:sp>
        <p:nvSpPr>
          <p:cNvPr id="9" name="Content Placeholder 8"/>
          <p:cNvSpPr>
            <a:spLocks noGrp="1"/>
          </p:cNvSpPr>
          <p:nvPr>
            <p:ph idx="1"/>
          </p:nvPr>
        </p:nvSpPr>
        <p:spPr/>
        <p:txBody>
          <a:bodyPr/>
          <a:lstStyle/>
          <a:p>
            <a:r>
              <a:rPr lang="en-US" dirty="0">
                <a:solidFill>
                  <a:schemeClr val="tx1"/>
                </a:solidFill>
              </a:rPr>
              <a:t>In this lesson, you have learnt:</a:t>
            </a:r>
          </a:p>
          <a:p>
            <a:pPr lvl="1"/>
            <a:r>
              <a:rPr lang="en-US" dirty="0"/>
              <a:t>To Generate  a list using simple reports</a:t>
            </a:r>
          </a:p>
          <a:p>
            <a:pPr lvl="1"/>
            <a:r>
              <a:rPr lang="en-US" dirty="0"/>
              <a:t>To use different events in the report</a:t>
            </a:r>
          </a:p>
          <a:p>
            <a:pPr lvl="1"/>
            <a:r>
              <a:rPr lang="en-US" dirty="0"/>
              <a:t>To Illustrate events triggering  interactive reports</a:t>
            </a:r>
          </a:p>
          <a:p>
            <a:pPr lvl="1"/>
            <a:r>
              <a:rPr lang="en-US" dirty="0"/>
              <a:t>To Develop programs on Interactive reports by using the </a:t>
            </a:r>
          </a:p>
          <a:p>
            <a:pPr marL="174625" lvl="1" indent="0">
              <a:buNone/>
            </a:pPr>
            <a:r>
              <a:rPr lang="en-US" dirty="0"/>
              <a:t>    At Line-Selection and At User-Command Events.</a:t>
            </a:r>
          </a:p>
          <a:p>
            <a:pPr lvl="1"/>
            <a:r>
              <a:rPr lang="en-US" dirty="0"/>
              <a:t>To Design Menus, Function Keys and application tool bar.</a:t>
            </a:r>
          </a:p>
          <a:p>
            <a:pPr lvl="1"/>
            <a:endParaRPr lang="en-US" dirty="0">
              <a:solidFill>
                <a:schemeClr val="tx1"/>
              </a:solidFill>
            </a:endParaRPr>
          </a:p>
        </p:txBody>
      </p:sp>
    </p:spTree>
    <p:extLst>
      <p:ext uri="{BB962C8B-B14F-4D97-AF65-F5344CB8AC3E}">
        <p14:creationId xmlns:p14="http://schemas.microsoft.com/office/powerpoint/2010/main" val="341339203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5" name="Rectangle 2"/>
          <p:cNvSpPr>
            <a:spLocks noGrp="1" noChangeArrowheads="1"/>
          </p:cNvSpPr>
          <p:nvPr>
            <p:ph type="title"/>
          </p:nvPr>
        </p:nvSpPr>
        <p:spPr/>
        <p:txBody>
          <a:bodyPr/>
          <a:lstStyle/>
          <a:p>
            <a:r>
              <a:rPr lang="en-US" dirty="0"/>
              <a:t>Event Blocks in Executable Programs </a:t>
            </a:r>
            <a:endParaRPr lang="en-US" altLang="en-US" dirty="0"/>
          </a:p>
        </p:txBody>
      </p:sp>
      <p:sp>
        <p:nvSpPr>
          <p:cNvPr id="38914" name="Rectangle 3"/>
          <p:cNvSpPr>
            <a:spLocks noGrp="1" noChangeArrowheads="1"/>
          </p:cNvSpPr>
          <p:nvPr>
            <p:ph idx="1"/>
          </p:nvPr>
        </p:nvSpPr>
        <p:spPr/>
        <p:txBody>
          <a:bodyPr>
            <a:normAutofit fontScale="77500" lnSpcReduction="20000"/>
          </a:bodyPr>
          <a:lstStyle/>
          <a:p>
            <a:r>
              <a:rPr lang="en-US" dirty="0"/>
              <a:t> The following events occur when you run a typical executable program 	 </a:t>
            </a:r>
          </a:p>
          <a:p>
            <a:pPr lvl="1"/>
            <a:r>
              <a:rPr lang="en-US" sz="1600" dirty="0"/>
              <a:t>INITIALIZATION: Before the standard selection screen is displayed. </a:t>
            </a:r>
          </a:p>
          <a:p>
            <a:pPr lvl="1"/>
            <a:r>
              <a:rPr lang="en-US" sz="1600" dirty="0"/>
              <a:t>AT SELECTION-SCREEN: After user input on a selection screen has been processed, but while the selection screen is still active. </a:t>
            </a:r>
          </a:p>
          <a:p>
            <a:pPr lvl="1"/>
            <a:r>
              <a:rPr lang="en-US" sz="1600" dirty="0"/>
              <a:t>START-OF-SELECTION: After the standard selection screen has been processed, before data is read from the database. </a:t>
            </a:r>
          </a:p>
          <a:p>
            <a:pPr lvl="1"/>
            <a:r>
              <a:rPr lang="en-US" sz="1600" dirty="0"/>
              <a:t>END-OF-SELECTION: After all data has been read by the logical database. </a:t>
            </a:r>
          </a:p>
          <a:p>
            <a:pPr lvl="1"/>
            <a:r>
              <a:rPr lang="en-US" sz="1600" dirty="0"/>
              <a:t>TOP-OF-PAGE: In list processing when a new page starts. </a:t>
            </a:r>
          </a:p>
          <a:p>
            <a:pPr lvl="1"/>
            <a:r>
              <a:rPr lang="en-US" sz="1600" dirty="0"/>
              <a:t>END-OF-PAGE: In list processing when a page ends. </a:t>
            </a:r>
          </a:p>
          <a:p>
            <a:pPr lvl="1"/>
            <a:r>
              <a:rPr lang="en-US" sz="1600" dirty="0"/>
              <a:t>AT LINE-SELECTION: Event is triggered by either the user double clicking a particular line or using F2 to select it. </a:t>
            </a:r>
          </a:p>
          <a:p>
            <a:pPr lvl="1"/>
            <a:r>
              <a:rPr lang="en-US" sz="1600" dirty="0"/>
              <a:t>AT PF&lt;NN&gt;: When the user triggers the predefined function code PF&lt;NN&gt;. </a:t>
            </a:r>
          </a:p>
          <a:p>
            <a:pPr lvl="1"/>
            <a:r>
              <a:rPr lang="en-US" sz="1600" dirty="0"/>
              <a:t>AT USER-COMMAND: When the user triggers a function code defined in the program. </a:t>
            </a:r>
          </a:p>
          <a:p>
            <a:pPr lvl="1"/>
            <a:r>
              <a:rPr lang="en-US" sz="1600" dirty="0"/>
              <a:t>TOP-OF-PAGE DURING LINE SELECTION: Event called during list processing when a detailed list is called. </a:t>
            </a:r>
          </a:p>
          <a:p>
            <a:pPr lvl="1"/>
            <a:endParaRPr lang="en-US" sz="1600" dirty="0"/>
          </a:p>
        </p:txBody>
      </p:sp>
    </p:spTree>
    <p:extLst>
      <p:ext uri="{BB962C8B-B14F-4D97-AF65-F5344CB8AC3E}">
        <p14:creationId xmlns:p14="http://schemas.microsoft.com/office/powerpoint/2010/main" val="81538070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5" name="Rectangle 2"/>
          <p:cNvSpPr>
            <a:spLocks noGrp="1" noChangeArrowheads="1"/>
          </p:cNvSpPr>
          <p:nvPr>
            <p:ph type="title"/>
          </p:nvPr>
        </p:nvSpPr>
        <p:spPr/>
        <p:txBody>
          <a:bodyPr/>
          <a:lstStyle/>
          <a:p>
            <a:r>
              <a:rPr lang="en-US" dirty="0"/>
              <a:t>Initialization </a:t>
            </a:r>
            <a:endParaRPr lang="en-US" altLang="en-US" dirty="0"/>
          </a:p>
        </p:txBody>
      </p:sp>
      <p:sp>
        <p:nvSpPr>
          <p:cNvPr id="38914" name="Rectangle 3"/>
          <p:cNvSpPr>
            <a:spLocks noGrp="1" noChangeArrowheads="1"/>
          </p:cNvSpPr>
          <p:nvPr>
            <p:ph idx="1"/>
          </p:nvPr>
        </p:nvSpPr>
        <p:spPr/>
        <p:txBody>
          <a:bodyPr/>
          <a:lstStyle/>
          <a:p>
            <a:pPr lvl="0"/>
            <a:r>
              <a:rPr lang="en-US" dirty="0"/>
              <a:t>The input fields of the standard selection screen can only be initialized once the program has been started.</a:t>
            </a:r>
          </a:p>
          <a:p>
            <a:r>
              <a:rPr lang="en-US" dirty="0"/>
              <a:t>Processed before the presentation of the selection screen can be used to initialize values in the selection screen or to assign values to any parameters or the select-options that appear on the selection screen. </a:t>
            </a:r>
          </a:p>
          <a:p>
            <a:r>
              <a:rPr lang="en-US" dirty="0"/>
              <a:t>If an executable program declares a standard selection screen, the same program will be automatically called again by the system once the selection screen has been executed. This triggers the INITIALIZATION event again</a:t>
            </a:r>
            <a:r>
              <a:rPr lang="en-US" sz="1800" dirty="0">
                <a:solidFill>
                  <a:schemeClr val="tx1"/>
                </a:solidFill>
                <a:cs typeface="Arial"/>
              </a:rPr>
              <a:t>.	</a:t>
            </a:r>
          </a:p>
          <a:p>
            <a:pPr marL="0" indent="0">
              <a:buNone/>
            </a:pPr>
            <a:endParaRPr lang="en-US" sz="1800" dirty="0">
              <a:solidFill>
                <a:schemeClr val="tx1"/>
              </a:solidFill>
            </a:endParaRPr>
          </a:p>
          <a:p>
            <a:pPr lvl="0" algn="just" defTabSz="457200">
              <a:lnSpc>
                <a:spcPct val="100000"/>
              </a:lnSpc>
              <a:spcBef>
                <a:spcPct val="20000"/>
              </a:spcBef>
              <a:spcAft>
                <a:spcPts val="0"/>
              </a:spcAft>
              <a:buClrTx/>
              <a:defRPr/>
            </a:pPr>
            <a:endParaRPr lang="en-US" sz="1800" dirty="0">
              <a:solidFill>
                <a:schemeClr val="tx1"/>
              </a:solidFill>
              <a:cs typeface="Arial"/>
            </a:endParaRPr>
          </a:p>
          <a:p>
            <a:pPr marL="0" lvl="0" indent="0" algn="just" defTabSz="457200">
              <a:lnSpc>
                <a:spcPct val="100000"/>
              </a:lnSpc>
              <a:spcBef>
                <a:spcPct val="20000"/>
              </a:spcBef>
              <a:spcAft>
                <a:spcPts val="0"/>
              </a:spcAft>
              <a:buClrTx/>
              <a:buNone/>
              <a:defRPr/>
            </a:pPr>
            <a:endParaRPr lang="en-US" sz="1800" dirty="0">
              <a:solidFill>
                <a:schemeClr val="tx1"/>
              </a:solidFill>
              <a:cs typeface="Arial"/>
            </a:endParaRPr>
          </a:p>
          <a:p>
            <a:pPr marL="742950" lvl="1" indent="-285750" defTabSz="457200">
              <a:lnSpc>
                <a:spcPct val="100000"/>
              </a:lnSpc>
              <a:spcBef>
                <a:spcPct val="20000"/>
              </a:spcBef>
              <a:spcAft>
                <a:spcPts val="0"/>
              </a:spcAft>
              <a:buClrTx/>
              <a:buFont typeface="Arial"/>
              <a:buChar char="–"/>
              <a:defRPr/>
            </a:pPr>
            <a:endParaRPr lang="en-US" dirty="0">
              <a:solidFill>
                <a:schemeClr val="tx1"/>
              </a:solidFill>
            </a:endParaRPr>
          </a:p>
          <a:p>
            <a:endParaRPr lang="en-US" sz="1800" dirty="0">
              <a:solidFill>
                <a:schemeClr val="tx1"/>
              </a:solidFill>
            </a:endParaRPr>
          </a:p>
          <a:p>
            <a:pPr eaLnBrk="1" hangingPunct="1">
              <a:buFontTx/>
              <a:buNone/>
            </a:pPr>
            <a:endParaRPr lang="en-US" altLang="en-US" sz="1800" dirty="0">
              <a:solidFill>
                <a:schemeClr val="tx1"/>
              </a:solidFill>
            </a:endParaRPr>
          </a:p>
        </p:txBody>
      </p:sp>
    </p:spTree>
    <p:extLst>
      <p:ext uri="{BB962C8B-B14F-4D97-AF65-F5344CB8AC3E}">
        <p14:creationId xmlns:p14="http://schemas.microsoft.com/office/powerpoint/2010/main" val="340337659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nitialization </a:t>
            </a:r>
          </a:p>
        </p:txBody>
      </p:sp>
      <p:sp>
        <p:nvSpPr>
          <p:cNvPr id="3" name="Content Placeholder 2"/>
          <p:cNvSpPr>
            <a:spLocks noGrp="1"/>
          </p:cNvSpPr>
          <p:nvPr>
            <p:ph idx="1"/>
          </p:nvPr>
        </p:nvSpPr>
        <p:spPr/>
        <p:txBody>
          <a:bodyPr/>
          <a:lstStyle/>
          <a:p>
            <a:pPr marL="0" indent="0">
              <a:buNone/>
            </a:pPr>
            <a:r>
              <a:rPr lang="en-US" sz="1800" dirty="0">
                <a:solidFill>
                  <a:schemeClr val="tx1"/>
                </a:solidFill>
              </a:rPr>
              <a:t>REPORT  ZCAP_REPORT. </a:t>
            </a:r>
          </a:p>
          <a:p>
            <a:pPr marL="0" indent="0">
              <a:buNone/>
            </a:pPr>
            <a:r>
              <a:rPr lang="en-US" sz="1800" dirty="0">
                <a:solidFill>
                  <a:schemeClr val="tx1"/>
                </a:solidFill>
              </a:rPr>
              <a:t>PARAMETERS DATUM TYPE SY-DATUM DEFAULT SY-DATUM.</a:t>
            </a:r>
          </a:p>
          <a:p>
            <a:pPr marL="0" indent="0">
              <a:buNone/>
            </a:pPr>
            <a:r>
              <a:rPr lang="en-US" sz="1800" dirty="0">
                <a:solidFill>
                  <a:schemeClr val="tx1"/>
                </a:solidFill>
              </a:rPr>
              <a:t>INITIALIZATION. </a:t>
            </a:r>
          </a:p>
          <a:p>
            <a:pPr marL="0" indent="0">
              <a:buNone/>
            </a:pPr>
            <a:r>
              <a:rPr lang="en-US" sz="1800" dirty="0">
                <a:solidFill>
                  <a:schemeClr val="tx1"/>
                </a:solidFill>
              </a:rPr>
              <a:t>CITY_FR = 'NEW YORK'. CITY_TO = 'FRANKFURT'. </a:t>
            </a:r>
          </a:p>
          <a:p>
            <a:pPr marL="0" indent="0">
              <a:buNone/>
            </a:pPr>
            <a:r>
              <a:rPr lang="en-US" sz="1800" dirty="0">
                <a:solidFill>
                  <a:schemeClr val="tx1"/>
                </a:solidFill>
              </a:rPr>
              <a:t>CARRID-SIGN = 'I'. CARRID-OPTION = 'EQ'.</a:t>
            </a:r>
          </a:p>
          <a:p>
            <a:pPr marL="0" indent="0">
              <a:buNone/>
            </a:pPr>
            <a:r>
              <a:rPr lang="en-US" sz="1800" dirty="0">
                <a:solidFill>
                  <a:schemeClr val="tx1"/>
                </a:solidFill>
              </a:rPr>
              <a:t>CARRID-LOW = 'AA'. APPEND CARRID.                        Output:</a:t>
            </a:r>
          </a:p>
          <a:p>
            <a:pPr marL="0" indent="0">
              <a:buNone/>
            </a:pPr>
            <a:r>
              <a:rPr lang="en-US" sz="1800" dirty="0">
                <a:solidFill>
                  <a:schemeClr val="tx1"/>
                </a:solidFill>
              </a:rPr>
              <a:t>DATUM+6(2) = '01'.  </a:t>
            </a:r>
          </a:p>
        </p:txBody>
      </p:sp>
      <p:pic>
        <p:nvPicPr>
          <p:cNvPr id="1024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400324" y="3753758"/>
            <a:ext cx="4581525" cy="25146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78725647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5" name="Rectangle 2"/>
          <p:cNvSpPr>
            <a:spLocks noGrp="1" noChangeArrowheads="1"/>
          </p:cNvSpPr>
          <p:nvPr>
            <p:ph type="title"/>
          </p:nvPr>
        </p:nvSpPr>
        <p:spPr/>
        <p:txBody>
          <a:bodyPr/>
          <a:lstStyle/>
          <a:p>
            <a:pPr eaLnBrk="1" hangingPunct="1"/>
            <a:r>
              <a:rPr lang="en-US" altLang="en-US" dirty="0"/>
              <a:t>Demo: Initialization Event</a:t>
            </a:r>
          </a:p>
        </p:txBody>
      </p:sp>
      <p:sp>
        <p:nvSpPr>
          <p:cNvPr id="3" name="Content Placeholder 2"/>
          <p:cNvSpPr>
            <a:spLocks noGrp="1"/>
          </p:cNvSpPr>
          <p:nvPr>
            <p:ph idx="1"/>
          </p:nvPr>
        </p:nvSpPr>
        <p:spPr/>
        <p:txBody>
          <a:bodyPr/>
          <a:lstStyle/>
          <a:p>
            <a:endParaRPr lang="en-US"/>
          </a:p>
        </p:txBody>
      </p:sp>
    </p:spTree>
    <p:extLst>
      <p:ext uri="{BB962C8B-B14F-4D97-AF65-F5344CB8AC3E}">
        <p14:creationId xmlns:p14="http://schemas.microsoft.com/office/powerpoint/2010/main" val="100808322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5" name="Rectangle 2"/>
          <p:cNvSpPr>
            <a:spLocks noGrp="1" noChangeArrowheads="1"/>
          </p:cNvSpPr>
          <p:nvPr>
            <p:ph type="title"/>
          </p:nvPr>
        </p:nvSpPr>
        <p:spPr/>
        <p:txBody>
          <a:bodyPr/>
          <a:lstStyle/>
          <a:p>
            <a:r>
              <a:rPr lang="en-US" dirty="0"/>
              <a:t>At Selection-Screen </a:t>
            </a:r>
            <a:endParaRPr lang="en-US" altLang="en-US" dirty="0"/>
          </a:p>
        </p:txBody>
      </p:sp>
      <p:sp>
        <p:nvSpPr>
          <p:cNvPr id="38914" name="Rectangle 3"/>
          <p:cNvSpPr>
            <a:spLocks noGrp="1" noChangeArrowheads="1"/>
          </p:cNvSpPr>
          <p:nvPr>
            <p:ph idx="1"/>
          </p:nvPr>
        </p:nvSpPr>
        <p:spPr/>
        <p:txBody>
          <a:bodyPr/>
          <a:lstStyle/>
          <a:p>
            <a:pPr lvl="0">
              <a:defRPr/>
            </a:pPr>
            <a:r>
              <a:rPr lang="en-US" dirty="0"/>
              <a:t>This is the basic form of events which occurs when the selection screen is being processed.</a:t>
            </a:r>
          </a:p>
          <a:p>
            <a:pPr lvl="0">
              <a:defRPr/>
            </a:pPr>
            <a:r>
              <a:rPr lang="en-US" dirty="0"/>
              <a:t>It is used to validate the information which is entered in the selection screen.</a:t>
            </a:r>
          </a:p>
          <a:p>
            <a:pPr lvl="0">
              <a:defRPr/>
            </a:pPr>
            <a:r>
              <a:rPr lang="en-US" dirty="0"/>
              <a:t>The standard selection screen is called automatically in the mid of the INITIALIZATION and START-OF-SELECTION events, either in an executable program or in the logical database which is linked to it.</a:t>
            </a:r>
          </a:p>
          <a:p>
            <a:pPr>
              <a:defRPr/>
            </a:pPr>
            <a:r>
              <a:rPr lang="en-US" dirty="0"/>
              <a:t>Occurs after all the input data is passed to the underlying ABAP program from selection screen.</a:t>
            </a:r>
          </a:p>
          <a:p>
            <a:pPr>
              <a:defRPr/>
            </a:pPr>
            <a:r>
              <a:rPr lang="en-US" dirty="0"/>
              <a:t>On passing the input data from Selection Screen to ABAP Program by the runtime environment, AT SELECTION-SCREEN event is triggered</a:t>
            </a:r>
            <a:r>
              <a:rPr lang="en-US" sz="1800" dirty="0">
                <a:solidFill>
                  <a:schemeClr val="tx1"/>
                </a:solidFill>
                <a:cs typeface="Arial"/>
              </a:rPr>
              <a:t>.</a:t>
            </a:r>
          </a:p>
          <a:p>
            <a:pPr marL="0" indent="0" algn="just" defTabSz="457200">
              <a:lnSpc>
                <a:spcPct val="100000"/>
              </a:lnSpc>
              <a:spcBef>
                <a:spcPct val="20000"/>
              </a:spcBef>
              <a:spcAft>
                <a:spcPts val="0"/>
              </a:spcAft>
              <a:buClrTx/>
              <a:buNone/>
              <a:defRPr/>
            </a:pPr>
            <a:endParaRPr lang="en-US" sz="1800" dirty="0">
              <a:solidFill>
                <a:schemeClr val="tx1"/>
              </a:solidFill>
            </a:endParaRPr>
          </a:p>
          <a:p>
            <a:pPr marL="0" lvl="0" indent="0" algn="just" defTabSz="457200">
              <a:lnSpc>
                <a:spcPct val="100000"/>
              </a:lnSpc>
              <a:spcBef>
                <a:spcPct val="20000"/>
              </a:spcBef>
              <a:spcAft>
                <a:spcPts val="0"/>
              </a:spcAft>
              <a:buClrTx/>
              <a:buNone/>
              <a:defRPr/>
            </a:pPr>
            <a:endParaRPr lang="en-US" sz="1800" dirty="0">
              <a:solidFill>
                <a:schemeClr val="tx1"/>
              </a:solidFill>
              <a:cs typeface="Arial"/>
            </a:endParaRPr>
          </a:p>
          <a:p>
            <a:pPr>
              <a:lnSpc>
                <a:spcPct val="100000"/>
              </a:lnSpc>
              <a:buFont typeface="Arial" panose="020B0604020202020204" pitchFamily="34" charset="0"/>
              <a:buChar char="•"/>
            </a:pPr>
            <a:endParaRPr lang="en-US" sz="1800" dirty="0">
              <a:solidFill>
                <a:schemeClr val="tx1"/>
              </a:solidFill>
            </a:endParaRPr>
          </a:p>
          <a:p>
            <a:pPr>
              <a:lnSpc>
                <a:spcPct val="100000"/>
              </a:lnSpc>
              <a:buFont typeface="Arial" panose="020B0604020202020204" pitchFamily="34" charset="0"/>
              <a:buChar char="•"/>
            </a:pPr>
            <a:endParaRPr lang="en-US" sz="1800" dirty="0">
              <a:solidFill>
                <a:schemeClr val="tx1"/>
              </a:solidFill>
            </a:endParaRPr>
          </a:p>
          <a:p>
            <a:endParaRPr lang="en-US" sz="1800" dirty="0">
              <a:solidFill>
                <a:schemeClr val="tx1"/>
              </a:solidFill>
            </a:endParaRPr>
          </a:p>
          <a:p>
            <a:pPr marL="0" indent="0">
              <a:buNone/>
            </a:pPr>
            <a:endParaRPr lang="en-US" sz="1800" dirty="0">
              <a:solidFill>
                <a:schemeClr val="tx1"/>
              </a:solidFill>
            </a:endParaRPr>
          </a:p>
          <a:p>
            <a:pPr eaLnBrk="1" hangingPunct="1">
              <a:buFontTx/>
              <a:buNone/>
            </a:pPr>
            <a:endParaRPr lang="en-US" altLang="en-US" sz="1800" dirty="0">
              <a:solidFill>
                <a:schemeClr val="tx1"/>
              </a:solidFill>
            </a:endParaRPr>
          </a:p>
        </p:txBody>
      </p:sp>
    </p:spTree>
    <p:extLst>
      <p:ext uri="{BB962C8B-B14F-4D97-AF65-F5344CB8AC3E}">
        <p14:creationId xmlns:p14="http://schemas.microsoft.com/office/powerpoint/2010/main" val="346619851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heme/theme1.xml><?xml version="1.0" encoding="utf-8"?>
<a:theme xmlns:a="http://schemas.openxmlformats.org/drawingml/2006/main" name="Covers">
  <a:themeElements>
    <a:clrScheme name="Custom 4">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ésentation1" id="{F4EDDD86-B8A8-46E1-81BA-C40220CF151C}" vid="{D76BB8BF-901C-4709-A70B-B9D859909653}"/>
    </a:ext>
  </a:extLst>
</a:theme>
</file>

<file path=ppt/theme/theme2.xml><?xml version="1.0" encoding="utf-8"?>
<a:theme xmlns:a="http://schemas.openxmlformats.org/drawingml/2006/main" name="Slides">
  <a:themeElements>
    <a:clrScheme name="Custom 4">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ésentation1" id="{F4EDDD86-B8A8-46E1-81BA-C40220CF151C}" vid="{D76BB8BF-901C-4709-A70B-B9D859909653}"/>
    </a:ext>
  </a:extLst>
</a:theme>
</file>

<file path=ppt/theme/theme3.xml><?xml version="1.0" encoding="utf-8"?>
<a:theme xmlns:a="http://schemas.openxmlformats.org/drawingml/2006/main" name="Dividers">
  <a:themeElements>
    <a:clrScheme name="Custom 4">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ésentation1" id="{F4EDDD86-B8A8-46E1-81BA-C40220CF151C}" vid="{B504A320-BF0C-4A8E-8664-9644A9AF95DC}"/>
    </a:ext>
  </a:extLst>
</a:theme>
</file>

<file path=ppt/theme/theme4.xml><?xml version="1.0" encoding="utf-8"?>
<a:theme xmlns:a="http://schemas.openxmlformats.org/drawingml/2006/main" name="Back cover">
  <a:themeElements>
    <a:clrScheme name="Custom 4">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ésentation1" id="{F4EDDD86-B8A8-46E1-81BA-C40220CF151C}" vid="{14D83F11-89F6-4441-B5DC-94FD0DFB8031}"/>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701F777920F58F449DFE723C8ECB983A" ma:contentTypeVersion="10" ma:contentTypeDescription="Create a new document." ma:contentTypeScope="" ma:versionID="a34f216e8c15b786b813182c657c2c45">
  <xsd:schema xmlns:xsd="http://www.w3.org/2001/XMLSchema" xmlns:xs="http://www.w3.org/2001/XMLSchema" xmlns:p="http://schemas.microsoft.com/office/2006/metadata/properties" xmlns:ns2="872c2c8c-4a2d-4282-b3ae-965d5e263694" xmlns:ns3="35517446-20c8-4dbf-81a7-e8d1b5f96f52" targetNamespace="http://schemas.microsoft.com/office/2006/metadata/properties" ma:root="true" ma:fieldsID="35f86e32a74b6162c7d73e32434781eb" ns2:_="" ns3:_="">
    <xsd:import namespace="872c2c8c-4a2d-4282-b3ae-965d5e263694"/>
    <xsd:import namespace="35517446-20c8-4dbf-81a7-e8d1b5f96f52"/>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2:MediaServiceAutoKeyPoints" minOccurs="0"/>
                <xsd:element ref="ns2:MediaServiceKeyPoints"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72c2c8c-4a2d-4282-b3ae-965d5e263694"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AutoKeyPoints" ma:index="14" nillable="true" ma:displayName="MediaServiceAutoKeyPoints" ma:hidden="true" ma:internalName="MediaServiceAutoKeyPoints" ma:readOnly="true">
      <xsd:simpleType>
        <xsd:restriction base="dms:Note"/>
      </xsd:simpleType>
    </xsd:element>
    <xsd:element name="MediaServiceKeyPoints" ma:index="15" nillable="true" ma:displayName="KeyPoints" ma:internalName="MediaServiceKeyPoint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35517446-20c8-4dbf-81a7-e8d1b5f96f52" elementFormDefault="qualified">
    <xsd:import namespace="http://schemas.microsoft.com/office/2006/documentManagement/types"/>
    <xsd:import namespace="http://schemas.microsoft.com/office/infopath/2007/PartnerControls"/>
    <xsd:element name="SharedWithUsers" ma:index="16"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7"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1B673CDC-8BE6-4391-ABD9-A817C61AB8C9}">
  <ds:schemaRefs>
    <ds:schemaRef ds:uri="http://schemas.microsoft.com/sharepoint/v3/contenttype/forms"/>
  </ds:schemaRefs>
</ds:datastoreItem>
</file>

<file path=customXml/itemProps2.xml><?xml version="1.0" encoding="utf-8"?>
<ds:datastoreItem xmlns:ds="http://schemas.openxmlformats.org/officeDocument/2006/customXml" ds:itemID="{7C1830C8-F522-4AF4-83DD-915E4EE23EB4}">
  <ds:schemaRefs>
    <ds:schemaRef ds:uri="http://purl.org/dc/elements/1.1/"/>
    <ds:schemaRef ds:uri="f9b258c7-9c72-463b-80f6-91d061ebb25d"/>
    <ds:schemaRef ds:uri="http://schemas.microsoft.com/office/2006/documentManagement/types"/>
    <ds:schemaRef ds:uri="http://purl.org/dc/terms/"/>
    <ds:schemaRef ds:uri="http://schemas.openxmlformats.org/package/2006/metadata/core-properties"/>
    <ds:schemaRef ds:uri="http://purl.org/dc/dcmitype/"/>
    <ds:schemaRef ds:uri="http://schemas.microsoft.com/office/infopath/2007/PartnerControls"/>
    <ds:schemaRef ds:uri="http://schemas.microsoft.com/sharepoint/v3/fields"/>
    <ds:schemaRef ds:uri="http://schemas.microsoft.com/office/2006/metadata/properties"/>
    <ds:schemaRef ds:uri="http://www.w3.org/XML/1998/namespace"/>
  </ds:schemaRefs>
</ds:datastoreItem>
</file>

<file path=customXml/itemProps3.xml><?xml version="1.0" encoding="utf-8"?>
<ds:datastoreItem xmlns:ds="http://schemas.openxmlformats.org/officeDocument/2006/customXml" ds:itemID="{5ADF354F-DEBF-49A5-85CF-2A460343D40C}"/>
</file>

<file path=docProps/app.xml><?xml version="1.0" encoding="utf-8"?>
<Properties xmlns="http://schemas.openxmlformats.org/officeDocument/2006/extended-properties" xmlns:vt="http://schemas.openxmlformats.org/officeDocument/2006/docPropsVTypes">
  <Template/>
  <TotalTime>15189</TotalTime>
  <Words>3174</Words>
  <Application>Microsoft Office PowerPoint</Application>
  <PresentationFormat>On-screen Show (4:3)</PresentationFormat>
  <Paragraphs>319</Paragraphs>
  <Slides>49</Slides>
  <Notes>49</Notes>
  <HiddenSlides>0</HiddenSlides>
  <MMClips>0</MMClips>
  <ScaleCrop>false</ScaleCrop>
  <HeadingPairs>
    <vt:vector size="8" baseType="variant">
      <vt:variant>
        <vt:lpstr>Fonts Used</vt:lpstr>
      </vt:variant>
      <vt:variant>
        <vt:i4>5</vt:i4>
      </vt:variant>
      <vt:variant>
        <vt:lpstr>Theme</vt:lpstr>
      </vt:variant>
      <vt:variant>
        <vt:i4>4</vt:i4>
      </vt:variant>
      <vt:variant>
        <vt:lpstr>Embedded OLE Servers</vt:lpstr>
      </vt:variant>
      <vt:variant>
        <vt:i4>1</vt:i4>
      </vt:variant>
      <vt:variant>
        <vt:lpstr>Slide Titles</vt:lpstr>
      </vt:variant>
      <vt:variant>
        <vt:i4>49</vt:i4>
      </vt:variant>
    </vt:vector>
  </HeadingPairs>
  <TitlesOfParts>
    <vt:vector size="59" baseType="lpstr">
      <vt:lpstr>Arial</vt:lpstr>
      <vt:lpstr>Calibri</vt:lpstr>
      <vt:lpstr>Candara</vt:lpstr>
      <vt:lpstr>Verdana</vt:lpstr>
      <vt:lpstr>Wingdings</vt:lpstr>
      <vt:lpstr>Covers</vt:lpstr>
      <vt:lpstr>Slides</vt:lpstr>
      <vt:lpstr>Dividers</vt:lpstr>
      <vt:lpstr>Back cover</vt:lpstr>
      <vt:lpstr>think-cell Slide</vt:lpstr>
      <vt:lpstr>ABAP Part I</vt:lpstr>
      <vt:lpstr>Lesson Objectives</vt:lpstr>
      <vt:lpstr>Reporting Events </vt:lpstr>
      <vt:lpstr>Reporting Events </vt:lpstr>
      <vt:lpstr>Event Blocks in Executable Programs </vt:lpstr>
      <vt:lpstr>Initialization </vt:lpstr>
      <vt:lpstr>Initialization </vt:lpstr>
      <vt:lpstr>Demo: Initialization Event</vt:lpstr>
      <vt:lpstr>At Selection-Screen </vt:lpstr>
      <vt:lpstr>At Selection-Screen </vt:lpstr>
      <vt:lpstr>At Selection-Screen </vt:lpstr>
      <vt:lpstr>Demo: At Selection Screen Event</vt:lpstr>
      <vt:lpstr>Start-of-Selection </vt:lpstr>
      <vt:lpstr>End-of-Selection </vt:lpstr>
      <vt:lpstr>Exiting Event Blocks </vt:lpstr>
      <vt:lpstr>Leaving Event Blocks using STOP </vt:lpstr>
      <vt:lpstr>Leaving Event Blocks using EXIT </vt:lpstr>
      <vt:lpstr>Leaving Event Blocks using CHECK </vt:lpstr>
      <vt:lpstr>Leaving a GET event block using REJECT </vt:lpstr>
      <vt:lpstr>Event Blocks in Executable Programs </vt:lpstr>
      <vt:lpstr>Interactive Process Flow </vt:lpstr>
      <vt:lpstr>Interactive Reporting Events</vt:lpstr>
      <vt:lpstr>AT Line-Selection </vt:lpstr>
      <vt:lpstr> Creating Detail-Lists </vt:lpstr>
      <vt:lpstr> Creating Detail-Lists </vt:lpstr>
      <vt:lpstr>Demo: Create Detail List using at Line Selection</vt:lpstr>
      <vt:lpstr>Output Fields as Hotspots </vt:lpstr>
      <vt:lpstr> Consequences of Event Control </vt:lpstr>
      <vt:lpstr>Data Transport by using HIDE </vt:lpstr>
      <vt:lpstr> Line Selection – Hide Statement  </vt:lpstr>
      <vt:lpstr>Demo: Hide Statement</vt:lpstr>
      <vt:lpstr> Field Selection - GET CURSOR  </vt:lpstr>
      <vt:lpstr>Demo: Get Cursor</vt:lpstr>
      <vt:lpstr>Lists in Dialog Box</vt:lpstr>
      <vt:lpstr>Reading and Modifying List Line </vt:lpstr>
      <vt:lpstr>Reading Lines from the Lists</vt:lpstr>
      <vt:lpstr>Demo: Read Lines from List</vt:lpstr>
      <vt:lpstr>System Fields for Interactive Lists </vt:lpstr>
      <vt:lpstr>System Fields for Interactive Lists </vt:lpstr>
      <vt:lpstr>AT USER-COMMAND</vt:lpstr>
      <vt:lpstr>AT USER-COMMAND</vt:lpstr>
      <vt:lpstr>Dialog Status and Title in program</vt:lpstr>
      <vt:lpstr> Menu Painter </vt:lpstr>
      <vt:lpstr> Menu Painter </vt:lpstr>
      <vt:lpstr>Menu Painter - Menu Bar</vt:lpstr>
      <vt:lpstr> Menu Painter - Application Toolbar </vt:lpstr>
      <vt:lpstr>Menu Painter - Function Keys</vt:lpstr>
      <vt:lpstr>Review Question</vt:lpstr>
      <vt:lpstr>Summary</vt:lpstr>
    </vt:vector>
  </TitlesOfParts>
  <Company>Hewlett-Packard Company</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lassBook-LessonXX-Template IGATE</dc:title>
  <dc:creator>vs823751</dc:creator>
  <cp:lastModifiedBy>Koleshwar, Vandana</cp:lastModifiedBy>
  <cp:revision>633</cp:revision>
  <cp:lastPrinted>2016-07-11T09:30:50Z</cp:lastPrinted>
  <dcterms:created xsi:type="dcterms:W3CDTF">2012-05-18T02:59:15Z</dcterms:created>
  <dcterms:modified xsi:type="dcterms:W3CDTF">2020-09-03T11:51:1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701F777920F58F449DFE723C8ECB983A</vt:lpwstr>
  </property>
  <property fmtid="{D5CDD505-2E9C-101B-9397-08002B2CF9AE}" pid="4" name="_SourceUrl">
    <vt:lpwstr/>
  </property>
</Properties>
</file>